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4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8" r:id="rId4"/>
    <p:sldMasterId id="2147483739" r:id="rId5"/>
    <p:sldMasterId id="2147483759" r:id="rId6"/>
    <p:sldMasterId id="2147483775" r:id="rId7"/>
    <p:sldMasterId id="2147483805" r:id="rId8"/>
  </p:sldMasterIdLst>
  <p:notesMasterIdLst>
    <p:notesMasterId r:id="rId28"/>
  </p:notesMasterIdLst>
  <p:handoutMasterIdLst>
    <p:handoutMasterId r:id="rId29"/>
  </p:handoutMasterIdLst>
  <p:sldIdLst>
    <p:sldId id="763" r:id="rId9"/>
    <p:sldId id="764" r:id="rId10"/>
    <p:sldId id="765" r:id="rId11"/>
    <p:sldId id="766" r:id="rId12"/>
    <p:sldId id="767" r:id="rId13"/>
    <p:sldId id="768" r:id="rId14"/>
    <p:sldId id="769" r:id="rId15"/>
    <p:sldId id="770" r:id="rId16"/>
    <p:sldId id="771" r:id="rId17"/>
    <p:sldId id="772" r:id="rId18"/>
    <p:sldId id="773" r:id="rId19"/>
    <p:sldId id="774" r:id="rId20"/>
    <p:sldId id="775" r:id="rId21"/>
    <p:sldId id="776" r:id="rId22"/>
    <p:sldId id="777" r:id="rId23"/>
    <p:sldId id="778" r:id="rId24"/>
    <p:sldId id="779" r:id="rId25"/>
    <p:sldId id="780" r:id="rId26"/>
    <p:sldId id="781" r:id="rId27"/>
  </p:sldIdLst>
  <p:sldSz cx="12192000" cy="6858000"/>
  <p:notesSz cx="6858000" cy="9144000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9965" autoAdjust="0"/>
    <p:restoredTop sz="94660"/>
  </p:normalViewPr>
  <p:slideViewPr>
    <p:cSldViewPr snapToGrid="0">
      <p:cViewPr varScale="1">
        <p:scale>
          <a:sx n="117" d="100"/>
          <a:sy n="117" d="100"/>
        </p:scale>
        <p:origin x="688" y="17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presProps" Target="presProps.xml"/><Relationship Id="rId8" Type="http://schemas.openxmlformats.org/officeDocument/2006/relationships/slideMaster" Target="slideMasters/slideMaster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E057B95-CC6E-5E49-B979-02A881CE9015}" type="datetimeFigureOut">
              <a:rPr lang="nb-NO" smtClean="0"/>
              <a:t>29.05.2019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85F104D-A73A-F844-A0BB-F030FE16886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5165447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E4F4C46-0646-4CE5-B45A-138F03A05D09}" type="datetimeFigureOut">
              <a:rPr lang="en-US" smtClean="0"/>
              <a:t>5/29/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10F9EF4-2FB0-475C-874E-1488FB6448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62553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Plassholder for lysbilde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0488" y="744538"/>
            <a:ext cx="6616700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14338" name="Plassholder for nota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pPr lvl="0"/>
            <a:r>
              <a:rPr lang="nb-NO" sz="2125" i="1" kern="1200" dirty="0">
                <a:solidFill>
                  <a:schemeClr val="tx1"/>
                </a:solidFill>
                <a:effectLst/>
                <a:latin typeface="+mn-lt"/>
                <a:ea typeface="MS PGothic" pitchFamily="34" charset="-128"/>
                <a:cs typeface="MS PGothic" charset="0"/>
              </a:rPr>
              <a:t>Betydningen av å ha nasjonal smart city innovasjonsklynge med nordisk profil og internasjonalt nedslagsfelt.</a:t>
            </a:r>
            <a:endParaRPr lang="nb-NO" sz="2125" kern="1200" dirty="0">
              <a:solidFill>
                <a:schemeClr val="tx1"/>
              </a:solidFill>
              <a:effectLst/>
              <a:latin typeface="+mn-lt"/>
              <a:ea typeface="MS PGothic" pitchFamily="34" charset="-128"/>
              <a:cs typeface="MS PGothic" charset="0"/>
            </a:endParaRPr>
          </a:p>
          <a:p>
            <a:pPr lvl="0"/>
            <a:r>
              <a:rPr lang="nb-NO" sz="2125" i="1" kern="1200" dirty="0">
                <a:solidFill>
                  <a:schemeClr val="tx1"/>
                </a:solidFill>
                <a:effectLst/>
                <a:latin typeface="+mn-lt"/>
                <a:ea typeface="MS PGothic" pitchFamily="34" charset="-128"/>
                <a:cs typeface="MS PGothic" charset="0"/>
              </a:rPr>
              <a:t>Hvordan bygger vi et </a:t>
            </a:r>
            <a:r>
              <a:rPr lang="nb-NO" sz="2125" i="1" kern="1200" dirty="0" err="1">
                <a:solidFill>
                  <a:schemeClr val="tx1"/>
                </a:solidFill>
                <a:effectLst/>
                <a:latin typeface="+mn-lt"/>
                <a:ea typeface="MS PGothic" pitchFamily="34" charset="-128"/>
                <a:cs typeface="MS PGothic" charset="0"/>
              </a:rPr>
              <a:t>smartby</a:t>
            </a:r>
            <a:r>
              <a:rPr lang="nb-NO" sz="2125" i="1" kern="1200" dirty="0">
                <a:solidFill>
                  <a:schemeClr val="tx1"/>
                </a:solidFill>
                <a:effectLst/>
                <a:latin typeface="+mn-lt"/>
                <a:ea typeface="MS PGothic" pitchFamily="34" charset="-128"/>
                <a:cs typeface="MS PGothic" charset="0"/>
              </a:rPr>
              <a:t>-økosystem som skaper næringsutvikling? </a:t>
            </a:r>
            <a:endParaRPr lang="nb-NO" sz="2125" kern="1200" dirty="0">
              <a:solidFill>
                <a:schemeClr val="tx1"/>
              </a:solidFill>
              <a:effectLst/>
              <a:latin typeface="+mn-lt"/>
              <a:ea typeface="MS PGothic" pitchFamily="34" charset="-128"/>
              <a:cs typeface="MS PGothic" charset="0"/>
            </a:endParaRPr>
          </a:p>
        </p:txBody>
      </p:sp>
      <p:sp>
        <p:nvSpPr>
          <p:cNvPr id="14339" name="Plassholder for lysbildenumm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791C83E-2DAF-284E-8228-4C297120B555}" type="slidenum"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MS PGothic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877153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AF56FB6-158D-A04C-B362-01610E4D3187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MS PGothic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608957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AF56FB6-158D-A04C-B362-01610E4D3187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MS PGothic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45277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Plassholder for lysbilde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0488" y="744538"/>
            <a:ext cx="6616700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14338" name="Plassholder for nota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defTabSz="762000" eaLnBrk="1" hangingPunct="1">
              <a:spcBef>
                <a:spcPct val="0"/>
              </a:spcBef>
              <a:buClr>
                <a:srgbClr val="C3D437"/>
              </a:buClr>
              <a:buSzPct val="125000"/>
              <a:tabLst>
                <a:tab pos="190500" algn="l"/>
              </a:tabLst>
            </a:pPr>
            <a:endParaRPr lang="nb-NO" dirty="0">
              <a:latin typeface="Calibri" charset="0"/>
              <a:ea typeface="MS PGothic" charset="0"/>
            </a:endParaRPr>
          </a:p>
        </p:txBody>
      </p:sp>
      <p:sp>
        <p:nvSpPr>
          <p:cNvPr id="14339" name="Plassholder for lysbildenumm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791C83E-2DAF-284E-8228-4C297120B555}" type="slidenum"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MS PGothic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08591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nb-NO" sz="2125" kern="1200" dirty="0" err="1">
                <a:solidFill>
                  <a:schemeClr val="tx1"/>
                </a:solidFill>
                <a:effectLst/>
                <a:latin typeface="+mn-lt"/>
                <a:ea typeface="MS PGothic" pitchFamily="34" charset="-128"/>
                <a:cs typeface="MS PGothic" charset="0"/>
              </a:rPr>
              <a:t>Why</a:t>
            </a:r>
            <a:r>
              <a:rPr lang="nb-NO" sz="2125" kern="1200" dirty="0">
                <a:solidFill>
                  <a:schemeClr val="tx1"/>
                </a:solidFill>
                <a:effectLst/>
                <a:latin typeface="+mn-lt"/>
                <a:ea typeface="MS PGothic" pitchFamily="34" charset="-128"/>
                <a:cs typeface="MS PGothic" charset="0"/>
              </a:rPr>
              <a:t> </a:t>
            </a:r>
            <a:r>
              <a:rPr lang="nb-NO" sz="2125" kern="1200" dirty="0" err="1">
                <a:solidFill>
                  <a:schemeClr val="tx1"/>
                </a:solidFill>
                <a:effectLst/>
                <a:latin typeface="+mn-lt"/>
                <a:ea typeface="MS PGothic" pitchFamily="34" charset="-128"/>
                <a:cs typeface="MS PGothic" charset="0"/>
              </a:rPr>
              <a:t>will</a:t>
            </a:r>
            <a:r>
              <a:rPr lang="nb-NO" sz="2125" kern="1200" dirty="0">
                <a:solidFill>
                  <a:schemeClr val="tx1"/>
                </a:solidFill>
                <a:effectLst/>
                <a:latin typeface="+mn-lt"/>
                <a:ea typeface="MS PGothic" pitchFamily="34" charset="-128"/>
                <a:cs typeface="MS PGothic" charset="0"/>
              </a:rPr>
              <a:t> </a:t>
            </a:r>
            <a:r>
              <a:rPr lang="nb-NO" sz="2125" kern="1200" dirty="0" err="1">
                <a:solidFill>
                  <a:schemeClr val="tx1"/>
                </a:solidFill>
                <a:effectLst/>
                <a:latin typeface="+mn-lt"/>
                <a:ea typeface="MS PGothic" pitchFamily="34" charset="-128"/>
                <a:cs typeface="MS PGothic" charset="0"/>
              </a:rPr>
              <a:t>the</a:t>
            </a:r>
            <a:r>
              <a:rPr lang="nb-NO" sz="2125" kern="1200" dirty="0">
                <a:solidFill>
                  <a:schemeClr val="tx1"/>
                </a:solidFill>
                <a:effectLst/>
                <a:latin typeface="+mn-lt"/>
                <a:ea typeface="MS PGothic" pitchFamily="34" charset="-128"/>
                <a:cs typeface="MS PGothic" charset="0"/>
              </a:rPr>
              <a:t> </a:t>
            </a:r>
            <a:r>
              <a:rPr lang="nb-NO" sz="2125" kern="1200" dirty="0" err="1">
                <a:solidFill>
                  <a:schemeClr val="tx1"/>
                </a:solidFill>
                <a:effectLst/>
                <a:latin typeface="+mn-lt"/>
                <a:ea typeface="MS PGothic" pitchFamily="34" charset="-128"/>
                <a:cs typeface="MS PGothic" charset="0"/>
              </a:rPr>
              <a:t>next</a:t>
            </a:r>
            <a:r>
              <a:rPr lang="nb-NO" sz="2125" kern="1200" dirty="0">
                <a:solidFill>
                  <a:schemeClr val="tx1"/>
                </a:solidFill>
                <a:effectLst/>
                <a:latin typeface="+mn-lt"/>
                <a:ea typeface="MS PGothic" pitchFamily="34" charset="-128"/>
                <a:cs typeface="MS PGothic" charset="0"/>
              </a:rPr>
              <a:t> </a:t>
            </a:r>
            <a:r>
              <a:rPr lang="nb-NO" sz="2125" kern="1200" dirty="0" err="1">
                <a:solidFill>
                  <a:schemeClr val="tx1"/>
                </a:solidFill>
                <a:effectLst/>
                <a:latin typeface="+mn-lt"/>
                <a:ea typeface="MS PGothic" pitchFamily="34" charset="-128"/>
                <a:cs typeface="MS PGothic" charset="0"/>
              </a:rPr>
              <a:t>generation</a:t>
            </a:r>
            <a:r>
              <a:rPr lang="nb-NO" sz="2125" kern="1200" dirty="0">
                <a:solidFill>
                  <a:schemeClr val="tx1"/>
                </a:solidFill>
                <a:effectLst/>
                <a:latin typeface="+mn-lt"/>
                <a:ea typeface="MS PGothic" pitchFamily="34" charset="-128"/>
                <a:cs typeface="MS PGothic" charset="0"/>
              </a:rPr>
              <a:t> </a:t>
            </a:r>
            <a:r>
              <a:rPr lang="nb-NO" sz="2125" kern="1200" dirty="0" err="1">
                <a:solidFill>
                  <a:schemeClr val="tx1"/>
                </a:solidFill>
                <a:effectLst/>
                <a:latin typeface="+mn-lt"/>
                <a:ea typeface="MS PGothic" pitchFamily="34" charset="-128"/>
                <a:cs typeface="MS PGothic" charset="0"/>
              </a:rPr>
              <a:t>solutions</a:t>
            </a:r>
            <a:r>
              <a:rPr lang="nb-NO" sz="2125" kern="1200" dirty="0">
                <a:solidFill>
                  <a:schemeClr val="tx1"/>
                </a:solidFill>
                <a:effectLst/>
                <a:latin typeface="+mn-lt"/>
                <a:ea typeface="MS PGothic" pitchFamily="34" charset="-128"/>
                <a:cs typeface="MS PGothic" charset="0"/>
              </a:rPr>
              <a:t> </a:t>
            </a:r>
            <a:r>
              <a:rPr lang="nb-NO" sz="2125" kern="1200" dirty="0" err="1">
                <a:solidFill>
                  <a:schemeClr val="tx1"/>
                </a:solidFill>
                <a:effectLst/>
                <a:latin typeface="+mn-lt"/>
                <a:ea typeface="MS PGothic" pitchFamily="34" charset="-128"/>
                <a:cs typeface="MS PGothic" charset="0"/>
              </a:rPr>
              <a:t>arise</a:t>
            </a:r>
            <a:r>
              <a:rPr lang="nb-NO" sz="2125" kern="1200" dirty="0">
                <a:solidFill>
                  <a:schemeClr val="tx1"/>
                </a:solidFill>
                <a:effectLst/>
                <a:latin typeface="+mn-lt"/>
                <a:ea typeface="MS PGothic" pitchFamily="34" charset="-128"/>
                <a:cs typeface="MS PGothic" charset="0"/>
              </a:rPr>
              <a:t> in </a:t>
            </a:r>
            <a:r>
              <a:rPr lang="nb-NO" sz="2125" kern="1200" dirty="0" err="1">
                <a:solidFill>
                  <a:schemeClr val="tx1"/>
                </a:solidFill>
                <a:effectLst/>
                <a:latin typeface="+mn-lt"/>
                <a:ea typeface="MS PGothic" pitchFamily="34" charset="-128"/>
                <a:cs typeface="MS PGothic" charset="0"/>
              </a:rPr>
              <a:t>the</a:t>
            </a:r>
            <a:r>
              <a:rPr lang="nb-NO" sz="2125" kern="1200" dirty="0">
                <a:solidFill>
                  <a:schemeClr val="tx1"/>
                </a:solidFill>
                <a:effectLst/>
                <a:latin typeface="+mn-lt"/>
                <a:ea typeface="MS PGothic" pitchFamily="34" charset="-128"/>
                <a:cs typeface="MS PGothic" charset="0"/>
              </a:rPr>
              <a:t> Nordics? 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AF56FB6-158D-A04C-B362-01610E4D3187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MS PGothic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63905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Plassholder for lysbilde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0488" y="744538"/>
            <a:ext cx="6616700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14338" name="Plassholder for nota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pPr defTabSz="762000" eaLnBrk="1" hangingPunct="1">
              <a:spcBef>
                <a:spcPct val="0"/>
              </a:spcBef>
              <a:buClr>
                <a:srgbClr val="C3D437"/>
              </a:buClr>
              <a:buSzPct val="125000"/>
              <a:tabLst>
                <a:tab pos="190500" algn="l"/>
              </a:tabLst>
            </a:pPr>
            <a:endParaRPr lang="nb-NO" dirty="0">
              <a:latin typeface="Calibri" charset="0"/>
              <a:ea typeface="MS PGothic" charset="0"/>
            </a:endParaRPr>
          </a:p>
        </p:txBody>
      </p:sp>
      <p:sp>
        <p:nvSpPr>
          <p:cNvPr id="14339" name="Plassholder for lysbildenumm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791C83E-2DAF-284E-8228-4C297120B555}" type="slidenum"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MS PGothic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88236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AF56FB6-158D-A04C-B362-01610E4D3187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MS PGothic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31212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AF56FB6-158D-A04C-B362-01610E4D3187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MS PGothic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93371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AF56FB6-158D-A04C-B362-01610E4D3187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MS PGothic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58056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Plassholder for lysbilde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0488" y="744538"/>
            <a:ext cx="6616700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14338" name="Plassholder for nota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defTabSz="762000" eaLnBrk="1" hangingPunct="1">
              <a:spcBef>
                <a:spcPct val="0"/>
              </a:spcBef>
              <a:buClr>
                <a:srgbClr val="C3D437"/>
              </a:buClr>
              <a:buSzPct val="125000"/>
              <a:tabLst>
                <a:tab pos="190500" algn="l"/>
              </a:tabLst>
            </a:pPr>
            <a:endParaRPr lang="nb-NO" dirty="0">
              <a:latin typeface="Calibri" charset="0"/>
              <a:ea typeface="MS PGothic" charset="0"/>
            </a:endParaRPr>
          </a:p>
        </p:txBody>
      </p:sp>
      <p:sp>
        <p:nvSpPr>
          <p:cNvPr id="14339" name="Plassholder for lysbildenumm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791C83E-2DAF-284E-8228-4C297120B555}" type="slidenum"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MS PGothic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22134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AF56FB6-158D-A04C-B362-01610E4D3187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MS PGothic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603130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AF56FB6-158D-A04C-B362-01610E4D3187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MS PGothic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89656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ags" Target="../tags/tag30.xml"/><Relationship Id="rId7" Type="http://schemas.openxmlformats.org/officeDocument/2006/relationships/image" Target="../media/image1.emf"/><Relationship Id="rId2" Type="http://schemas.openxmlformats.org/officeDocument/2006/relationships/tags" Target="../tags/tag29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32.xml"/><Relationship Id="rId7" Type="http://schemas.openxmlformats.org/officeDocument/2006/relationships/oleObject" Target="../embeddings/oleObject3.bin"/><Relationship Id="rId2" Type="http://schemas.openxmlformats.org/officeDocument/2006/relationships/customXml" Target="../../customXml/item1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4.xml"/><Relationship Id="rId4" Type="http://schemas.openxmlformats.org/officeDocument/2006/relationships/tags" Target="../tags/tag33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3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1.emf"/><Relationship Id="rId2" Type="http://schemas.openxmlformats.org/officeDocument/2006/relationships/customXml" Target="../../customXml/item2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6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3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pn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tags" Target="../tags/tag39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wmf"/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wmf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wmf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3" name="Picture 14" descr="C:\Users\z0035dbp\Desktop\ITS presentation\Bilder\siem-throughput-traffc-layer-berlin 16-9.jpg"/>
          <p:cNvPicPr>
            <a:picLocks noChangeAspect="1" noChangeArrowheads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0297" y="-70395"/>
            <a:ext cx="12432596" cy="6998789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 bwMode="ltGray">
          <a:xfrm>
            <a:off x="626736" y="4139931"/>
            <a:ext cx="6476627" cy="166256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398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6096000" y="0"/>
            <a:ext cx="1587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5981" rIns="0" bIns="0">
            <a:noAutofit/>
          </a:bodyPr>
          <a:lstStyle/>
          <a:p>
            <a:pPr algn="ctr" eaLnBrk="1">
              <a:buClrTx/>
              <a:buFontTx/>
              <a:buNone/>
            </a:pPr>
            <a:endParaRPr lang="en-US" sz="1099" b="1" dirty="0">
              <a:solidFill>
                <a:srgbClr val="990000"/>
              </a:solidFill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6736" y="5907600"/>
            <a:ext cx="6476627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999" b="1"/>
            </a:lvl1pPr>
            <a:lvl2pPr marL="1587" indent="0">
              <a:buNone/>
              <a:defRPr/>
            </a:lvl2pPr>
          </a:lstStyle>
          <a:p>
            <a:pPr lvl="0"/>
            <a:r>
              <a:rPr lang="en-US" dirty="0"/>
              <a:t>Siemens.com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6737" y="5907600"/>
            <a:ext cx="2338782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999" b="1"/>
            </a:lvl1pPr>
            <a:lvl2pPr marL="1587" indent="0">
              <a:buNone/>
              <a:defRPr/>
            </a:lvl2pPr>
          </a:lstStyle>
          <a:p>
            <a:pPr lvl="0"/>
            <a:r>
              <a:rPr lang="en-US" dirty="0"/>
              <a:t>Please insert </a:t>
            </a:r>
            <a:r>
              <a:rPr lang="en-US" dirty="0" err="1"/>
              <a:t>Restrictedity</a:t>
            </a:r>
            <a:r>
              <a:rPr lang="en-US" dirty="0"/>
              <a:t> note</a:t>
            </a:r>
          </a:p>
        </p:txBody>
      </p:sp>
      <p:grpSp>
        <p:nvGrpSpPr>
          <p:cNvPr id="32" name="Gruppieren 31"/>
          <p:cNvGrpSpPr/>
          <p:nvPr userDrawn="1"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33" name="Gerade Verbindung 3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 rot="5400000">
              <a:off x="123228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94822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-1260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4" name="Group 33"/>
          <p:cNvGrpSpPr>
            <a:grpSpLocks noChangeAspect="1"/>
          </p:cNvGrpSpPr>
          <p:nvPr userDrawn="1"/>
        </p:nvGrpSpPr>
        <p:grpSpPr bwMode="auto">
          <a:xfrm>
            <a:off x="9550189" y="323850"/>
            <a:ext cx="2157876" cy="914400"/>
            <a:chOff x="6019" y="204"/>
            <a:chExt cx="1360" cy="576"/>
          </a:xfrm>
        </p:grpSpPr>
        <p:sp>
          <p:nvSpPr>
            <p:cNvPr id="35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36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37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38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39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40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41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42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43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44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45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46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47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48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49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50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51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52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53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54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55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56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78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79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80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81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82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</p:grpSp>
    </p:spTree>
    <p:extLst>
      <p:ext uri="{BB962C8B-B14F-4D97-AF65-F5344CB8AC3E}">
        <p14:creationId xmlns:p14="http://schemas.microsoft.com/office/powerpoint/2010/main" val="37633445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39001" indent="-239001">
              <a:defRPr/>
            </a:lvl1pPr>
            <a:lvl2pPr marL="480117" indent="-245347">
              <a:defRPr/>
            </a:lvl2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00F304-B406-B84D-A67D-FF1049A8D0FE}" type="datetime3">
              <a:rPr lang="nb-NO"/>
              <a:pPr>
                <a:defRPr/>
              </a:pPr>
              <a:t>2019.05.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40028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719668" y="1512001"/>
            <a:ext cx="5280000" cy="4365272"/>
          </a:xfrm>
        </p:spPr>
        <p:txBody>
          <a:bodyPr/>
          <a:lstStyle>
            <a:lvl1pPr marL="239001" indent="-239001">
              <a:defRPr/>
            </a:lvl1pPr>
            <a:lvl2pPr marL="575562" indent="-287781">
              <a:defRPr/>
            </a:lvl2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6192011" y="1512001"/>
            <a:ext cx="5280000" cy="4365272"/>
          </a:xfrm>
        </p:spPr>
        <p:txBody>
          <a:bodyPr/>
          <a:lstStyle>
            <a:lvl1pPr marL="239001" indent="-239001">
              <a:defRPr/>
            </a:lvl1pPr>
            <a:lvl2pPr marL="575562" indent="-287781">
              <a:defRPr/>
            </a:lvl2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5" name="Plassholder for dato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FE3BFE-09BD-594D-91CE-FD24E700EA2E}" type="datetime3">
              <a:rPr lang="nb-NO"/>
              <a:pPr>
                <a:defRPr/>
              </a:pPr>
              <a:t>2019.05.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87582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3"/>
          <p:cNvSpPr>
            <a:spLocks noGrp="1"/>
          </p:cNvSpPr>
          <p:nvPr>
            <p:ph type="pic" sz="quarter" idx="15"/>
          </p:nvPr>
        </p:nvSpPr>
        <p:spPr>
          <a:xfrm>
            <a:off x="269974" y="270000"/>
            <a:ext cx="6479367" cy="6345000"/>
          </a:xfrm>
          <a:ln>
            <a:noFill/>
          </a:ln>
        </p:spPr>
        <p:txBody>
          <a:bodyPr/>
          <a:lstStyle>
            <a:lvl1pPr marL="0" indent="0" algn="ctr">
              <a:buNone/>
              <a:defRPr sz="937"/>
            </a:lvl1pPr>
          </a:lstStyle>
          <a:p>
            <a:pPr lvl="0"/>
            <a:r>
              <a:rPr lang="nb-NO" noProof="0" dirty="0"/>
              <a:t>Dra bildet til plassholderen eller klikk ikonet for å legge til</a:t>
            </a: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154301" y="540000"/>
            <a:ext cx="4589552" cy="900000"/>
          </a:xfrm>
        </p:spPr>
        <p:txBody>
          <a:bodyPr/>
          <a:lstStyle/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7154301" y="1619999"/>
            <a:ext cx="4589552" cy="4320000"/>
          </a:xfrm>
        </p:spPr>
        <p:txBody>
          <a:bodyPr/>
          <a:lstStyle>
            <a:lvl1pPr marL="239001" indent="-239001">
              <a:defRPr/>
            </a:lvl1pPr>
            <a:lvl2pPr marL="575562" indent="-287781">
              <a:defRPr/>
            </a:lvl2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66228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og innhold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3"/>
          <p:cNvSpPr>
            <a:spLocks noGrp="1"/>
          </p:cNvSpPr>
          <p:nvPr>
            <p:ph type="pic" sz="quarter" idx="15"/>
          </p:nvPr>
        </p:nvSpPr>
        <p:spPr>
          <a:xfrm>
            <a:off x="269974" y="270000"/>
            <a:ext cx="6479367" cy="3645000"/>
          </a:xfrm>
          <a:ln>
            <a:noFill/>
          </a:ln>
        </p:spPr>
        <p:txBody>
          <a:bodyPr/>
          <a:lstStyle>
            <a:lvl1pPr marL="0" indent="0" algn="ctr">
              <a:buNone/>
              <a:defRPr sz="937"/>
            </a:lvl1pPr>
          </a:lstStyle>
          <a:p>
            <a:pPr lvl="0"/>
            <a:r>
              <a:rPr lang="nb-NO" noProof="0" dirty="0"/>
              <a:t>Dra bildet til plassholderen eller klikk ikonet for å legge til</a:t>
            </a: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154301" y="540000"/>
            <a:ext cx="4589552" cy="900000"/>
          </a:xfrm>
        </p:spPr>
        <p:txBody>
          <a:bodyPr/>
          <a:lstStyle/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7154301" y="1619999"/>
            <a:ext cx="4589552" cy="4320000"/>
          </a:xfrm>
        </p:spPr>
        <p:txBody>
          <a:bodyPr/>
          <a:lstStyle>
            <a:lvl1pPr marL="239001" indent="-239001">
              <a:defRPr/>
            </a:lvl1pPr>
            <a:lvl2pPr marL="575562" indent="-287781">
              <a:defRPr/>
            </a:lvl2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10" name="Plassholder for bilde 3"/>
          <p:cNvSpPr>
            <a:spLocks noGrp="1"/>
          </p:cNvSpPr>
          <p:nvPr>
            <p:ph type="pic" sz="quarter" idx="23"/>
          </p:nvPr>
        </p:nvSpPr>
        <p:spPr>
          <a:xfrm>
            <a:off x="269974" y="4050000"/>
            <a:ext cx="2564749" cy="2565000"/>
          </a:xfrm>
          <a:ln>
            <a:noFill/>
          </a:ln>
        </p:spPr>
        <p:txBody>
          <a:bodyPr/>
          <a:lstStyle>
            <a:lvl1pPr marL="0" indent="0" algn="ctr">
              <a:buNone/>
              <a:defRPr sz="937"/>
            </a:lvl1pPr>
          </a:lstStyle>
          <a:p>
            <a:pPr lvl="0"/>
            <a:r>
              <a:rPr lang="nb-NO" noProof="0" dirty="0"/>
              <a:t>Dra bildet til plassholderen eller klikk ikonet for å legge til</a:t>
            </a:r>
          </a:p>
        </p:txBody>
      </p:sp>
      <p:sp>
        <p:nvSpPr>
          <p:cNvPr id="13" name="Plassholder for bilde 3"/>
          <p:cNvSpPr>
            <a:spLocks noGrp="1"/>
          </p:cNvSpPr>
          <p:nvPr>
            <p:ph type="pic" sz="quarter" idx="24"/>
          </p:nvPr>
        </p:nvSpPr>
        <p:spPr>
          <a:xfrm>
            <a:off x="2969710" y="4050000"/>
            <a:ext cx="3779631" cy="2565000"/>
          </a:xfrm>
          <a:ln>
            <a:noFill/>
          </a:ln>
        </p:spPr>
        <p:txBody>
          <a:bodyPr/>
          <a:lstStyle>
            <a:lvl1pPr marL="0" indent="0" algn="ctr">
              <a:buNone/>
              <a:defRPr sz="937"/>
            </a:lvl1pPr>
          </a:lstStyle>
          <a:p>
            <a:pPr lvl="0"/>
            <a:r>
              <a:rPr lang="nb-NO" noProof="0" dirty="0"/>
              <a:t>Dra bildet til plassholderen eller klikk ikonet for å legge til</a:t>
            </a:r>
          </a:p>
        </p:txBody>
      </p:sp>
    </p:spTree>
    <p:extLst>
      <p:ext uri="{BB962C8B-B14F-4D97-AF65-F5344CB8AC3E}">
        <p14:creationId xmlns:p14="http://schemas.microsoft.com/office/powerpoint/2010/main" val="32181063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og innhol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ssholder for bilde 3"/>
          <p:cNvSpPr>
            <a:spLocks noGrp="1"/>
          </p:cNvSpPr>
          <p:nvPr>
            <p:ph type="pic" sz="quarter" idx="24"/>
          </p:nvPr>
        </p:nvSpPr>
        <p:spPr>
          <a:xfrm>
            <a:off x="269974" y="4050000"/>
            <a:ext cx="4319578" cy="2565000"/>
          </a:xfrm>
          <a:ln>
            <a:noFill/>
          </a:ln>
        </p:spPr>
        <p:txBody>
          <a:bodyPr/>
          <a:lstStyle>
            <a:lvl1pPr marL="0" indent="0" algn="ctr">
              <a:buNone/>
              <a:defRPr sz="937"/>
            </a:lvl1pPr>
          </a:lstStyle>
          <a:p>
            <a:pPr lvl="0"/>
            <a:r>
              <a:rPr lang="nb-NO" noProof="0" dirty="0"/>
              <a:t>Dra bildet til plassholderen eller klikk ikonet for å legge til</a:t>
            </a:r>
          </a:p>
        </p:txBody>
      </p:sp>
      <p:sp>
        <p:nvSpPr>
          <p:cNvPr id="4" name="Plassholder for bilde 3"/>
          <p:cNvSpPr>
            <a:spLocks noGrp="1"/>
          </p:cNvSpPr>
          <p:nvPr>
            <p:ph type="pic" sz="quarter" idx="15"/>
          </p:nvPr>
        </p:nvSpPr>
        <p:spPr>
          <a:xfrm>
            <a:off x="2429763" y="270000"/>
            <a:ext cx="4319578" cy="3645000"/>
          </a:xfrm>
          <a:ln>
            <a:noFill/>
          </a:ln>
        </p:spPr>
        <p:txBody>
          <a:bodyPr/>
          <a:lstStyle>
            <a:lvl1pPr marL="0" indent="0" algn="ctr">
              <a:buNone/>
              <a:defRPr sz="937"/>
            </a:lvl1pPr>
          </a:lstStyle>
          <a:p>
            <a:pPr lvl="0"/>
            <a:r>
              <a:rPr lang="nb-NO" noProof="0" dirty="0"/>
              <a:t>Dra bildet til plassholderen eller klikk ikonet for å legge til</a:t>
            </a: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154301" y="540000"/>
            <a:ext cx="4589552" cy="900000"/>
          </a:xfrm>
        </p:spPr>
        <p:txBody>
          <a:bodyPr/>
          <a:lstStyle/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7154301" y="1619999"/>
            <a:ext cx="4589552" cy="4320000"/>
          </a:xfrm>
        </p:spPr>
        <p:txBody>
          <a:bodyPr/>
          <a:lstStyle>
            <a:lvl1pPr marL="239001" indent="-239001">
              <a:defRPr/>
            </a:lvl1pPr>
            <a:lvl2pPr marL="575562" indent="-287781">
              <a:defRPr/>
            </a:lvl2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10" name="Plassholder for bilde 3"/>
          <p:cNvSpPr>
            <a:spLocks noGrp="1"/>
          </p:cNvSpPr>
          <p:nvPr>
            <p:ph type="pic" sz="quarter" idx="23"/>
          </p:nvPr>
        </p:nvSpPr>
        <p:spPr>
          <a:xfrm>
            <a:off x="4724539" y="4050000"/>
            <a:ext cx="2024802" cy="2565000"/>
          </a:xfrm>
          <a:ln>
            <a:noFill/>
          </a:ln>
        </p:spPr>
        <p:txBody>
          <a:bodyPr/>
          <a:lstStyle>
            <a:lvl1pPr marL="0" indent="0" algn="ctr">
              <a:buNone/>
              <a:defRPr sz="937"/>
            </a:lvl1pPr>
          </a:lstStyle>
          <a:p>
            <a:pPr lvl="0"/>
            <a:r>
              <a:rPr lang="nb-NO" noProof="0" dirty="0"/>
              <a:t>Dra bildet til plassholderen eller klikk ikonet for å legge til</a:t>
            </a:r>
          </a:p>
        </p:txBody>
      </p:sp>
      <p:sp>
        <p:nvSpPr>
          <p:cNvPr id="7" name="Plassholder for bilde 3"/>
          <p:cNvSpPr>
            <a:spLocks noGrp="1"/>
          </p:cNvSpPr>
          <p:nvPr>
            <p:ph type="pic" sz="quarter" idx="25"/>
          </p:nvPr>
        </p:nvSpPr>
        <p:spPr>
          <a:xfrm>
            <a:off x="269974" y="270000"/>
            <a:ext cx="2024802" cy="3645000"/>
          </a:xfrm>
          <a:ln>
            <a:noFill/>
          </a:ln>
        </p:spPr>
        <p:txBody>
          <a:bodyPr/>
          <a:lstStyle>
            <a:lvl1pPr marL="0" indent="0" algn="ctr">
              <a:buNone/>
              <a:defRPr sz="937"/>
            </a:lvl1pPr>
          </a:lstStyle>
          <a:p>
            <a:pPr lvl="0"/>
            <a:r>
              <a:rPr lang="nb-NO" noProof="0" dirty="0"/>
              <a:t>Dra bildet til plassholderen eller klikk ikonet for å legge til</a:t>
            </a:r>
          </a:p>
        </p:txBody>
      </p:sp>
    </p:spTree>
    <p:extLst>
      <p:ext uri="{BB962C8B-B14F-4D97-AF65-F5344CB8AC3E}">
        <p14:creationId xmlns:p14="http://schemas.microsoft.com/office/powerpoint/2010/main" val="30345737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og innhold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ssholder for bilde 3"/>
          <p:cNvSpPr>
            <a:spLocks noGrp="1"/>
          </p:cNvSpPr>
          <p:nvPr>
            <p:ph type="pic" sz="quarter" idx="24"/>
          </p:nvPr>
        </p:nvSpPr>
        <p:spPr>
          <a:xfrm>
            <a:off x="269974" y="4050000"/>
            <a:ext cx="6479367" cy="2565000"/>
          </a:xfrm>
          <a:ln>
            <a:noFill/>
          </a:ln>
        </p:spPr>
        <p:txBody>
          <a:bodyPr/>
          <a:lstStyle>
            <a:lvl1pPr marL="0" indent="0" algn="ctr">
              <a:buNone/>
              <a:defRPr sz="937"/>
            </a:lvl1pPr>
          </a:lstStyle>
          <a:p>
            <a:pPr lvl="0"/>
            <a:r>
              <a:rPr lang="nb-NO" noProof="0" dirty="0"/>
              <a:t>Dra bildet til plassholderen eller klikk ikonet for å legge til</a:t>
            </a:r>
          </a:p>
        </p:txBody>
      </p:sp>
      <p:sp>
        <p:nvSpPr>
          <p:cNvPr id="4" name="Plassholder for bilde 3"/>
          <p:cNvSpPr>
            <a:spLocks noGrp="1"/>
          </p:cNvSpPr>
          <p:nvPr>
            <p:ph type="pic" sz="quarter" idx="15"/>
          </p:nvPr>
        </p:nvSpPr>
        <p:spPr>
          <a:xfrm>
            <a:off x="269974" y="270000"/>
            <a:ext cx="4319578" cy="3645000"/>
          </a:xfrm>
          <a:ln>
            <a:noFill/>
          </a:ln>
        </p:spPr>
        <p:txBody>
          <a:bodyPr/>
          <a:lstStyle>
            <a:lvl1pPr marL="0" indent="0" algn="ctr">
              <a:buNone/>
              <a:defRPr sz="937"/>
            </a:lvl1pPr>
          </a:lstStyle>
          <a:p>
            <a:pPr lvl="0"/>
            <a:r>
              <a:rPr lang="nb-NO" noProof="0" dirty="0"/>
              <a:t>Dra bildet til plassholderen eller klikk ikonet for å legge til</a:t>
            </a: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154301" y="540000"/>
            <a:ext cx="4589552" cy="900000"/>
          </a:xfrm>
        </p:spPr>
        <p:txBody>
          <a:bodyPr/>
          <a:lstStyle/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7154301" y="1619999"/>
            <a:ext cx="4589552" cy="4320000"/>
          </a:xfrm>
        </p:spPr>
        <p:txBody>
          <a:bodyPr/>
          <a:lstStyle>
            <a:lvl1pPr marL="239001" indent="-239001">
              <a:defRPr/>
            </a:lvl1pPr>
            <a:lvl2pPr marL="575562" indent="-287781">
              <a:defRPr/>
            </a:lvl2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7" name="Plassholder for bilde 3"/>
          <p:cNvSpPr>
            <a:spLocks noGrp="1"/>
          </p:cNvSpPr>
          <p:nvPr>
            <p:ph type="pic" sz="quarter" idx="25"/>
          </p:nvPr>
        </p:nvSpPr>
        <p:spPr>
          <a:xfrm>
            <a:off x="4724539" y="270000"/>
            <a:ext cx="2024802" cy="3645000"/>
          </a:xfrm>
          <a:ln>
            <a:noFill/>
          </a:ln>
        </p:spPr>
        <p:txBody>
          <a:bodyPr/>
          <a:lstStyle>
            <a:lvl1pPr marL="0" indent="0" algn="ctr">
              <a:buNone/>
              <a:defRPr sz="937"/>
            </a:lvl1pPr>
          </a:lstStyle>
          <a:p>
            <a:pPr lvl="0"/>
            <a:r>
              <a:rPr lang="nb-NO" noProof="0" dirty="0"/>
              <a:t>Dra bildet til plassholderen eller klikk ikonet for å legge til</a:t>
            </a:r>
          </a:p>
        </p:txBody>
      </p:sp>
    </p:spTree>
    <p:extLst>
      <p:ext uri="{BB962C8B-B14F-4D97-AF65-F5344CB8AC3E}">
        <p14:creationId xmlns:p14="http://schemas.microsoft.com/office/powerpoint/2010/main" val="301982129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med c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3"/>
          <p:cNvSpPr>
            <a:spLocks noGrp="1"/>
          </p:cNvSpPr>
          <p:nvPr>
            <p:ph type="pic" sz="quarter" idx="15"/>
          </p:nvPr>
        </p:nvSpPr>
        <p:spPr>
          <a:xfrm>
            <a:off x="727100" y="540000"/>
            <a:ext cx="4015174" cy="3521361"/>
          </a:xfrm>
          <a:ln>
            <a:noFill/>
          </a:ln>
        </p:spPr>
        <p:txBody>
          <a:bodyPr/>
          <a:lstStyle>
            <a:lvl1pPr marL="0" indent="0" algn="ctr">
              <a:buNone/>
              <a:defRPr sz="937"/>
            </a:lvl1pPr>
          </a:lstStyle>
          <a:p>
            <a:pPr lvl="0"/>
            <a:r>
              <a:rPr lang="nb-NO" noProof="0" dirty="0"/>
              <a:t>Dra bildet til plassholderen eller klikk ikonet for å legge til</a:t>
            </a:r>
          </a:p>
        </p:txBody>
      </p:sp>
      <p:sp>
        <p:nvSpPr>
          <p:cNvPr id="7" name="Plassholder for bilde 6"/>
          <p:cNvSpPr>
            <a:spLocks noGrp="1"/>
          </p:cNvSpPr>
          <p:nvPr>
            <p:ph type="pic" sz="quarter" idx="17"/>
          </p:nvPr>
        </p:nvSpPr>
        <p:spPr>
          <a:xfrm>
            <a:off x="4891438" y="540000"/>
            <a:ext cx="1943810" cy="3521361"/>
          </a:xfrm>
          <a:ln>
            <a:noFill/>
          </a:ln>
        </p:spPr>
        <p:txBody>
          <a:bodyPr/>
          <a:lstStyle>
            <a:lvl1pPr marL="0" indent="0" algn="ctr">
              <a:buNone/>
              <a:defRPr sz="937"/>
            </a:lvl1pPr>
          </a:lstStyle>
          <a:p>
            <a:pPr lvl="0"/>
            <a:r>
              <a:rPr lang="nb-NO" noProof="0" dirty="0"/>
              <a:t>Dra bildet til plassholderen eller klikk ikonet for å legge til</a:t>
            </a:r>
          </a:p>
        </p:txBody>
      </p:sp>
      <p:sp>
        <p:nvSpPr>
          <p:cNvPr id="8" name="Plassholder for dato 3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1CA2C1-1237-1D47-AF4A-A6622A1FF592}" type="datetime3">
              <a:rPr lang="nb-NO"/>
              <a:pPr>
                <a:defRPr/>
              </a:pPr>
              <a:t>2019.05.29</a:t>
            </a:fld>
            <a:endParaRPr lang="en-US"/>
          </a:p>
        </p:txBody>
      </p:sp>
      <p:sp>
        <p:nvSpPr>
          <p:cNvPr id="13" name="Plassholder for bilde 3"/>
          <p:cNvSpPr>
            <a:spLocks noGrp="1"/>
          </p:cNvSpPr>
          <p:nvPr>
            <p:ph type="pic" sz="quarter" idx="21"/>
          </p:nvPr>
        </p:nvSpPr>
        <p:spPr>
          <a:xfrm>
            <a:off x="6984414" y="540000"/>
            <a:ext cx="4478649" cy="2348940"/>
          </a:xfrm>
          <a:ln>
            <a:noFill/>
          </a:ln>
        </p:spPr>
        <p:txBody>
          <a:bodyPr/>
          <a:lstStyle>
            <a:lvl1pPr marL="0" indent="0" algn="ctr">
              <a:buNone/>
              <a:defRPr sz="937"/>
            </a:lvl1pPr>
          </a:lstStyle>
          <a:p>
            <a:pPr lvl="0"/>
            <a:r>
              <a:rPr lang="nb-NO" noProof="0" dirty="0"/>
              <a:t>Dra bildet til plassholderen eller klikk ikonet for å legge til</a:t>
            </a:r>
          </a:p>
        </p:txBody>
      </p:sp>
      <p:sp>
        <p:nvSpPr>
          <p:cNvPr id="15" name="Plassholder for bilde 5"/>
          <p:cNvSpPr>
            <a:spLocks noGrp="1"/>
          </p:cNvSpPr>
          <p:nvPr>
            <p:ph type="pic" sz="quarter" idx="20"/>
          </p:nvPr>
        </p:nvSpPr>
        <p:spPr bwMode="auto">
          <a:xfrm>
            <a:off x="718930" y="4185082"/>
            <a:ext cx="6133079" cy="2107466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0 w 10000"/>
              <a:gd name="connsiteY0" fmla="*/ 2000 h 11450"/>
              <a:gd name="connsiteX1" fmla="*/ 10000 w 10000"/>
              <a:gd name="connsiteY1" fmla="*/ 0 h 11450"/>
              <a:gd name="connsiteX2" fmla="*/ 10000 w 10000"/>
              <a:gd name="connsiteY2" fmla="*/ 10000 h 11450"/>
              <a:gd name="connsiteX3" fmla="*/ 0 w 10000"/>
              <a:gd name="connsiteY3" fmla="*/ 11450 h 11450"/>
              <a:gd name="connsiteX4" fmla="*/ 0 w 10000"/>
              <a:gd name="connsiteY4" fmla="*/ 2000 h 11450"/>
              <a:gd name="connsiteX0" fmla="*/ 0 w 10000"/>
              <a:gd name="connsiteY0" fmla="*/ 0 h 11452"/>
              <a:gd name="connsiteX1" fmla="*/ 10000 w 10000"/>
              <a:gd name="connsiteY1" fmla="*/ 2 h 11452"/>
              <a:gd name="connsiteX2" fmla="*/ 10000 w 10000"/>
              <a:gd name="connsiteY2" fmla="*/ 10002 h 11452"/>
              <a:gd name="connsiteX3" fmla="*/ 0 w 10000"/>
              <a:gd name="connsiteY3" fmla="*/ 11452 h 11452"/>
              <a:gd name="connsiteX4" fmla="*/ 0 w 10000"/>
              <a:gd name="connsiteY4" fmla="*/ 0 h 11452"/>
              <a:gd name="connsiteX0" fmla="*/ 0 w 10000"/>
              <a:gd name="connsiteY0" fmla="*/ 0 h 11366"/>
              <a:gd name="connsiteX1" fmla="*/ 10000 w 10000"/>
              <a:gd name="connsiteY1" fmla="*/ 2 h 11366"/>
              <a:gd name="connsiteX2" fmla="*/ 10000 w 10000"/>
              <a:gd name="connsiteY2" fmla="*/ 10002 h 11366"/>
              <a:gd name="connsiteX3" fmla="*/ 0 w 10000"/>
              <a:gd name="connsiteY3" fmla="*/ 11366 h 11366"/>
              <a:gd name="connsiteX4" fmla="*/ 0 w 10000"/>
              <a:gd name="connsiteY4" fmla="*/ 0 h 11366"/>
              <a:gd name="connsiteX0" fmla="*/ 0 w 10000"/>
              <a:gd name="connsiteY0" fmla="*/ 0 h 11815"/>
              <a:gd name="connsiteX1" fmla="*/ 10000 w 10000"/>
              <a:gd name="connsiteY1" fmla="*/ 2 h 11815"/>
              <a:gd name="connsiteX2" fmla="*/ 10000 w 10000"/>
              <a:gd name="connsiteY2" fmla="*/ 10002 h 11815"/>
              <a:gd name="connsiteX3" fmla="*/ 0 w 10000"/>
              <a:gd name="connsiteY3" fmla="*/ 11815 h 11815"/>
              <a:gd name="connsiteX4" fmla="*/ 0 w 10000"/>
              <a:gd name="connsiteY4" fmla="*/ 0 h 11815"/>
              <a:gd name="connsiteX0" fmla="*/ 0 w 10000"/>
              <a:gd name="connsiteY0" fmla="*/ 0 h 11501"/>
              <a:gd name="connsiteX1" fmla="*/ 10000 w 10000"/>
              <a:gd name="connsiteY1" fmla="*/ 2 h 11501"/>
              <a:gd name="connsiteX2" fmla="*/ 10000 w 10000"/>
              <a:gd name="connsiteY2" fmla="*/ 10002 h 11501"/>
              <a:gd name="connsiteX3" fmla="*/ 0 w 10000"/>
              <a:gd name="connsiteY3" fmla="*/ 11501 h 11501"/>
              <a:gd name="connsiteX4" fmla="*/ 0 w 10000"/>
              <a:gd name="connsiteY4" fmla="*/ 0 h 11501"/>
              <a:gd name="connsiteX0" fmla="*/ 0 w 10000"/>
              <a:gd name="connsiteY0" fmla="*/ 0 h 11501"/>
              <a:gd name="connsiteX1" fmla="*/ 10000 w 10000"/>
              <a:gd name="connsiteY1" fmla="*/ 2 h 11501"/>
              <a:gd name="connsiteX2" fmla="*/ 10000 w 10000"/>
              <a:gd name="connsiteY2" fmla="*/ 10685 h 11501"/>
              <a:gd name="connsiteX3" fmla="*/ 0 w 10000"/>
              <a:gd name="connsiteY3" fmla="*/ 11501 h 11501"/>
              <a:gd name="connsiteX4" fmla="*/ 0 w 10000"/>
              <a:gd name="connsiteY4" fmla="*/ 0 h 11501"/>
              <a:gd name="connsiteX0" fmla="*/ 0 w 10000"/>
              <a:gd name="connsiteY0" fmla="*/ 0 h 11501"/>
              <a:gd name="connsiteX1" fmla="*/ 10000 w 10000"/>
              <a:gd name="connsiteY1" fmla="*/ 2 h 11501"/>
              <a:gd name="connsiteX2" fmla="*/ 10000 w 10000"/>
              <a:gd name="connsiteY2" fmla="*/ 10736 h 11501"/>
              <a:gd name="connsiteX3" fmla="*/ 0 w 10000"/>
              <a:gd name="connsiteY3" fmla="*/ 11501 h 11501"/>
              <a:gd name="connsiteX4" fmla="*/ 0 w 10000"/>
              <a:gd name="connsiteY4" fmla="*/ 0 h 11501"/>
              <a:gd name="connsiteX0" fmla="*/ 0 w 10000"/>
              <a:gd name="connsiteY0" fmla="*/ 0 h 11501"/>
              <a:gd name="connsiteX1" fmla="*/ 10000 w 10000"/>
              <a:gd name="connsiteY1" fmla="*/ 2 h 11501"/>
              <a:gd name="connsiteX2" fmla="*/ 10000 w 10000"/>
              <a:gd name="connsiteY2" fmla="*/ 9825 h 11501"/>
              <a:gd name="connsiteX3" fmla="*/ 0 w 10000"/>
              <a:gd name="connsiteY3" fmla="*/ 11501 h 11501"/>
              <a:gd name="connsiteX4" fmla="*/ 0 w 10000"/>
              <a:gd name="connsiteY4" fmla="*/ 0 h 11501"/>
              <a:gd name="connsiteX0" fmla="*/ 0 w 10000"/>
              <a:gd name="connsiteY0" fmla="*/ 0 h 11501"/>
              <a:gd name="connsiteX1" fmla="*/ 10000 w 10000"/>
              <a:gd name="connsiteY1" fmla="*/ 2 h 11501"/>
              <a:gd name="connsiteX2" fmla="*/ 10000 w 10000"/>
              <a:gd name="connsiteY2" fmla="*/ 10939 h 11501"/>
              <a:gd name="connsiteX3" fmla="*/ 0 w 10000"/>
              <a:gd name="connsiteY3" fmla="*/ 11501 h 11501"/>
              <a:gd name="connsiteX4" fmla="*/ 0 w 10000"/>
              <a:gd name="connsiteY4" fmla="*/ 0 h 11501"/>
              <a:gd name="connsiteX0" fmla="*/ 0 w 10000"/>
              <a:gd name="connsiteY0" fmla="*/ 0 h 11501"/>
              <a:gd name="connsiteX1" fmla="*/ 10000 w 10000"/>
              <a:gd name="connsiteY1" fmla="*/ 2 h 11501"/>
              <a:gd name="connsiteX2" fmla="*/ 10000 w 10000"/>
              <a:gd name="connsiteY2" fmla="*/ 9885 h 11501"/>
              <a:gd name="connsiteX3" fmla="*/ 0 w 10000"/>
              <a:gd name="connsiteY3" fmla="*/ 11501 h 11501"/>
              <a:gd name="connsiteX4" fmla="*/ 0 w 10000"/>
              <a:gd name="connsiteY4" fmla="*/ 0 h 11501"/>
              <a:gd name="connsiteX0" fmla="*/ 0 w 10000"/>
              <a:gd name="connsiteY0" fmla="*/ 0 h 12333"/>
              <a:gd name="connsiteX1" fmla="*/ 10000 w 10000"/>
              <a:gd name="connsiteY1" fmla="*/ 2 h 12333"/>
              <a:gd name="connsiteX2" fmla="*/ 10000 w 10000"/>
              <a:gd name="connsiteY2" fmla="*/ 9885 h 12333"/>
              <a:gd name="connsiteX3" fmla="*/ 0 w 10000"/>
              <a:gd name="connsiteY3" fmla="*/ 12333 h 12333"/>
              <a:gd name="connsiteX4" fmla="*/ 0 w 10000"/>
              <a:gd name="connsiteY4" fmla="*/ 0 h 12333"/>
              <a:gd name="connsiteX0" fmla="*/ 0 w 10000"/>
              <a:gd name="connsiteY0" fmla="*/ 0 h 12278"/>
              <a:gd name="connsiteX1" fmla="*/ 10000 w 10000"/>
              <a:gd name="connsiteY1" fmla="*/ 2 h 12278"/>
              <a:gd name="connsiteX2" fmla="*/ 10000 w 10000"/>
              <a:gd name="connsiteY2" fmla="*/ 9885 h 12278"/>
              <a:gd name="connsiteX3" fmla="*/ 0 w 10000"/>
              <a:gd name="connsiteY3" fmla="*/ 12278 h 12278"/>
              <a:gd name="connsiteX4" fmla="*/ 0 w 10000"/>
              <a:gd name="connsiteY4" fmla="*/ 0 h 122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2278">
                <a:moveTo>
                  <a:pt x="0" y="0"/>
                </a:moveTo>
                <a:lnTo>
                  <a:pt x="10000" y="2"/>
                </a:lnTo>
                <a:lnTo>
                  <a:pt x="10000" y="9885"/>
                </a:lnTo>
                <a:lnTo>
                  <a:pt x="0" y="12278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0" indent="0" algn="ctr">
              <a:buNone/>
              <a:defRPr/>
            </a:lvl1pPr>
          </a:lstStyle>
          <a:p>
            <a:endParaRPr lang="nb-NO"/>
          </a:p>
        </p:txBody>
      </p:sp>
      <p:sp>
        <p:nvSpPr>
          <p:cNvPr id="16" name="Plassholder for bilde 5"/>
          <p:cNvSpPr>
            <a:spLocks noGrp="1"/>
          </p:cNvSpPr>
          <p:nvPr>
            <p:ph type="pic" sz="quarter" idx="22"/>
          </p:nvPr>
        </p:nvSpPr>
        <p:spPr bwMode="auto">
          <a:xfrm>
            <a:off x="6974826" y="3022677"/>
            <a:ext cx="4488238" cy="2855628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0 w 10000"/>
              <a:gd name="connsiteY0" fmla="*/ 2000 h 11450"/>
              <a:gd name="connsiteX1" fmla="*/ 10000 w 10000"/>
              <a:gd name="connsiteY1" fmla="*/ 0 h 11450"/>
              <a:gd name="connsiteX2" fmla="*/ 10000 w 10000"/>
              <a:gd name="connsiteY2" fmla="*/ 10000 h 11450"/>
              <a:gd name="connsiteX3" fmla="*/ 0 w 10000"/>
              <a:gd name="connsiteY3" fmla="*/ 11450 h 11450"/>
              <a:gd name="connsiteX4" fmla="*/ 0 w 10000"/>
              <a:gd name="connsiteY4" fmla="*/ 2000 h 11450"/>
              <a:gd name="connsiteX0" fmla="*/ 0 w 10000"/>
              <a:gd name="connsiteY0" fmla="*/ 0 h 11452"/>
              <a:gd name="connsiteX1" fmla="*/ 10000 w 10000"/>
              <a:gd name="connsiteY1" fmla="*/ 2 h 11452"/>
              <a:gd name="connsiteX2" fmla="*/ 10000 w 10000"/>
              <a:gd name="connsiteY2" fmla="*/ 10002 h 11452"/>
              <a:gd name="connsiteX3" fmla="*/ 0 w 10000"/>
              <a:gd name="connsiteY3" fmla="*/ 11452 h 11452"/>
              <a:gd name="connsiteX4" fmla="*/ 0 w 10000"/>
              <a:gd name="connsiteY4" fmla="*/ 0 h 11452"/>
              <a:gd name="connsiteX0" fmla="*/ 0 w 10000"/>
              <a:gd name="connsiteY0" fmla="*/ 0 h 11366"/>
              <a:gd name="connsiteX1" fmla="*/ 10000 w 10000"/>
              <a:gd name="connsiteY1" fmla="*/ 2 h 11366"/>
              <a:gd name="connsiteX2" fmla="*/ 10000 w 10000"/>
              <a:gd name="connsiteY2" fmla="*/ 10002 h 11366"/>
              <a:gd name="connsiteX3" fmla="*/ 0 w 10000"/>
              <a:gd name="connsiteY3" fmla="*/ 11366 h 11366"/>
              <a:gd name="connsiteX4" fmla="*/ 0 w 10000"/>
              <a:gd name="connsiteY4" fmla="*/ 0 h 11366"/>
              <a:gd name="connsiteX0" fmla="*/ 0 w 10000"/>
              <a:gd name="connsiteY0" fmla="*/ 0 h 11815"/>
              <a:gd name="connsiteX1" fmla="*/ 10000 w 10000"/>
              <a:gd name="connsiteY1" fmla="*/ 2 h 11815"/>
              <a:gd name="connsiteX2" fmla="*/ 10000 w 10000"/>
              <a:gd name="connsiteY2" fmla="*/ 10002 h 11815"/>
              <a:gd name="connsiteX3" fmla="*/ 0 w 10000"/>
              <a:gd name="connsiteY3" fmla="*/ 11815 h 11815"/>
              <a:gd name="connsiteX4" fmla="*/ 0 w 10000"/>
              <a:gd name="connsiteY4" fmla="*/ 0 h 11815"/>
              <a:gd name="connsiteX0" fmla="*/ 0 w 10000"/>
              <a:gd name="connsiteY0" fmla="*/ 0 h 11501"/>
              <a:gd name="connsiteX1" fmla="*/ 10000 w 10000"/>
              <a:gd name="connsiteY1" fmla="*/ 2 h 11501"/>
              <a:gd name="connsiteX2" fmla="*/ 10000 w 10000"/>
              <a:gd name="connsiteY2" fmla="*/ 10002 h 11501"/>
              <a:gd name="connsiteX3" fmla="*/ 0 w 10000"/>
              <a:gd name="connsiteY3" fmla="*/ 11501 h 11501"/>
              <a:gd name="connsiteX4" fmla="*/ 0 w 10000"/>
              <a:gd name="connsiteY4" fmla="*/ 0 h 11501"/>
              <a:gd name="connsiteX0" fmla="*/ 0 w 10000"/>
              <a:gd name="connsiteY0" fmla="*/ 0 h 11501"/>
              <a:gd name="connsiteX1" fmla="*/ 10000 w 10000"/>
              <a:gd name="connsiteY1" fmla="*/ 2 h 11501"/>
              <a:gd name="connsiteX2" fmla="*/ 10000 w 10000"/>
              <a:gd name="connsiteY2" fmla="*/ 10685 h 11501"/>
              <a:gd name="connsiteX3" fmla="*/ 0 w 10000"/>
              <a:gd name="connsiteY3" fmla="*/ 11501 h 11501"/>
              <a:gd name="connsiteX4" fmla="*/ 0 w 10000"/>
              <a:gd name="connsiteY4" fmla="*/ 0 h 11501"/>
              <a:gd name="connsiteX0" fmla="*/ 0 w 10000"/>
              <a:gd name="connsiteY0" fmla="*/ 0 h 11501"/>
              <a:gd name="connsiteX1" fmla="*/ 10000 w 10000"/>
              <a:gd name="connsiteY1" fmla="*/ 2 h 11501"/>
              <a:gd name="connsiteX2" fmla="*/ 10000 w 10000"/>
              <a:gd name="connsiteY2" fmla="*/ 10736 h 11501"/>
              <a:gd name="connsiteX3" fmla="*/ 0 w 10000"/>
              <a:gd name="connsiteY3" fmla="*/ 11501 h 11501"/>
              <a:gd name="connsiteX4" fmla="*/ 0 w 10000"/>
              <a:gd name="connsiteY4" fmla="*/ 0 h 11501"/>
              <a:gd name="connsiteX0" fmla="*/ 0 w 10000"/>
              <a:gd name="connsiteY0" fmla="*/ 0 h 11501"/>
              <a:gd name="connsiteX1" fmla="*/ 10000 w 10000"/>
              <a:gd name="connsiteY1" fmla="*/ 2 h 11501"/>
              <a:gd name="connsiteX2" fmla="*/ 10000 w 10000"/>
              <a:gd name="connsiteY2" fmla="*/ 9825 h 11501"/>
              <a:gd name="connsiteX3" fmla="*/ 0 w 10000"/>
              <a:gd name="connsiteY3" fmla="*/ 11501 h 11501"/>
              <a:gd name="connsiteX4" fmla="*/ 0 w 10000"/>
              <a:gd name="connsiteY4" fmla="*/ 0 h 11501"/>
              <a:gd name="connsiteX0" fmla="*/ 0 w 10000"/>
              <a:gd name="connsiteY0" fmla="*/ 0 h 11501"/>
              <a:gd name="connsiteX1" fmla="*/ 10000 w 10000"/>
              <a:gd name="connsiteY1" fmla="*/ 2 h 11501"/>
              <a:gd name="connsiteX2" fmla="*/ 10000 w 10000"/>
              <a:gd name="connsiteY2" fmla="*/ 10939 h 11501"/>
              <a:gd name="connsiteX3" fmla="*/ 0 w 10000"/>
              <a:gd name="connsiteY3" fmla="*/ 11501 h 11501"/>
              <a:gd name="connsiteX4" fmla="*/ 0 w 10000"/>
              <a:gd name="connsiteY4" fmla="*/ 0 h 11501"/>
              <a:gd name="connsiteX0" fmla="*/ 21 w 10021"/>
              <a:gd name="connsiteY0" fmla="*/ 0 h 10939"/>
              <a:gd name="connsiteX1" fmla="*/ 10021 w 10021"/>
              <a:gd name="connsiteY1" fmla="*/ 2 h 10939"/>
              <a:gd name="connsiteX2" fmla="*/ 10021 w 10021"/>
              <a:gd name="connsiteY2" fmla="*/ 10939 h 10939"/>
              <a:gd name="connsiteX3" fmla="*/ 0 w 10021"/>
              <a:gd name="connsiteY3" fmla="*/ 10299 h 10939"/>
              <a:gd name="connsiteX4" fmla="*/ 21 w 10021"/>
              <a:gd name="connsiteY4" fmla="*/ 0 h 10939"/>
              <a:gd name="connsiteX0" fmla="*/ 21 w 10021"/>
              <a:gd name="connsiteY0" fmla="*/ 0 h 10299"/>
              <a:gd name="connsiteX1" fmla="*/ 10021 w 10021"/>
              <a:gd name="connsiteY1" fmla="*/ 2 h 10299"/>
              <a:gd name="connsiteX2" fmla="*/ 10021 w 10021"/>
              <a:gd name="connsiteY2" fmla="*/ 9153 h 10299"/>
              <a:gd name="connsiteX3" fmla="*/ 0 w 10021"/>
              <a:gd name="connsiteY3" fmla="*/ 10299 h 10299"/>
              <a:gd name="connsiteX4" fmla="*/ 21 w 10021"/>
              <a:gd name="connsiteY4" fmla="*/ 0 h 10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21" h="10299">
                <a:moveTo>
                  <a:pt x="21" y="0"/>
                </a:moveTo>
                <a:lnTo>
                  <a:pt x="10021" y="2"/>
                </a:lnTo>
                <a:lnTo>
                  <a:pt x="10021" y="9153"/>
                </a:lnTo>
                <a:lnTo>
                  <a:pt x="0" y="10299"/>
                </a:lnTo>
                <a:lnTo>
                  <a:pt x="21" y="0"/>
                </a:lnTo>
                <a:close/>
              </a:path>
            </a:pathLst>
          </a:custGeom>
          <a:noFill/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0" indent="0" algn="ctr">
              <a:buNone/>
              <a:defRPr/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0750468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 cut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tvinklet trekant 4"/>
          <p:cNvSpPr/>
          <p:nvPr userDrawn="1"/>
        </p:nvSpPr>
        <p:spPr>
          <a:xfrm flipH="1">
            <a:off x="10642833" y="1458000"/>
            <a:ext cx="1549167" cy="5400000"/>
          </a:xfrm>
          <a:prstGeom prst="rtTriangle">
            <a:avLst/>
          </a:prstGeom>
          <a:solidFill>
            <a:srgbClr val="ED0B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00F304-B406-B84D-A67D-FF1049A8D0FE}" type="datetime3">
              <a:rPr lang="nb-NO"/>
              <a:pPr>
                <a:defRPr/>
              </a:pPr>
              <a:t>2019.05.29</a:t>
            </a:fld>
            <a:endParaRPr lang="en-US"/>
          </a:p>
        </p:txBody>
      </p:sp>
      <p:sp>
        <p:nvSpPr>
          <p:cNvPr id="6" name="Plassholder for tekst 2"/>
          <p:cNvSpPr>
            <a:spLocks noGrp="1" noChangeAspect="1"/>
          </p:cNvSpPr>
          <p:nvPr>
            <p:ph type="body" idx="13"/>
          </p:nvPr>
        </p:nvSpPr>
        <p:spPr>
          <a:xfrm>
            <a:off x="11070721" y="6228000"/>
            <a:ext cx="900058" cy="41175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43695695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 cu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tvinklet trekant 6"/>
          <p:cNvSpPr/>
          <p:nvPr userDrawn="1"/>
        </p:nvSpPr>
        <p:spPr>
          <a:xfrm flipH="1">
            <a:off x="10642576" y="1458000"/>
            <a:ext cx="1549167" cy="5400000"/>
          </a:xfrm>
          <a:prstGeom prst="rtTriangle">
            <a:avLst/>
          </a:prstGeom>
          <a:solidFill>
            <a:srgbClr val="009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00F304-B406-B84D-A67D-FF1049A8D0FE}" type="datetime3">
              <a:rPr lang="nb-NO"/>
              <a:pPr>
                <a:defRPr/>
              </a:pPr>
              <a:t>2019.05.29</a:t>
            </a:fld>
            <a:endParaRPr lang="en-US"/>
          </a:p>
        </p:txBody>
      </p:sp>
      <p:sp>
        <p:nvSpPr>
          <p:cNvPr id="8" name="Plassholder for tekst 2"/>
          <p:cNvSpPr>
            <a:spLocks noGrp="1" noChangeAspect="1"/>
          </p:cNvSpPr>
          <p:nvPr>
            <p:ph type="body" idx="13"/>
          </p:nvPr>
        </p:nvSpPr>
        <p:spPr>
          <a:xfrm>
            <a:off x="11070721" y="6228000"/>
            <a:ext cx="900058" cy="41175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17733501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 cut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tvinklet trekant 6"/>
          <p:cNvSpPr/>
          <p:nvPr userDrawn="1"/>
        </p:nvSpPr>
        <p:spPr>
          <a:xfrm flipH="1">
            <a:off x="10642576" y="1458000"/>
            <a:ext cx="1549167" cy="5400000"/>
          </a:xfrm>
          <a:prstGeom prst="rtTriangle">
            <a:avLst/>
          </a:prstGeom>
          <a:solidFill>
            <a:srgbClr val="FFDC0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00F304-B406-B84D-A67D-FF1049A8D0FE}" type="datetime3">
              <a:rPr lang="nb-NO"/>
              <a:pPr>
                <a:defRPr/>
              </a:pPr>
              <a:t>2019.05.29</a:t>
            </a:fld>
            <a:endParaRPr lang="en-US"/>
          </a:p>
        </p:txBody>
      </p:sp>
      <p:sp>
        <p:nvSpPr>
          <p:cNvPr id="8" name="Plassholder for tekst 2"/>
          <p:cNvSpPr>
            <a:spLocks noGrp="1" noChangeAspect="1"/>
          </p:cNvSpPr>
          <p:nvPr>
            <p:ph type="body" idx="13"/>
          </p:nvPr>
        </p:nvSpPr>
        <p:spPr>
          <a:xfrm>
            <a:off x="11070721" y="6228000"/>
            <a:ext cx="900058" cy="41175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427534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7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0" y="1"/>
            <a:ext cx="1219200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39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39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Mastertitelformat bearbeiten</a:t>
            </a:r>
            <a:endParaRPr kumimoji="0" lang="en-US" sz="1999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grpSp>
        <p:nvGrpSpPr>
          <p:cNvPr id="4" name="Group 33"/>
          <p:cNvGrpSpPr>
            <a:grpSpLocks noChangeAspect="1"/>
          </p:cNvGrpSpPr>
          <p:nvPr userDrawn="1"/>
        </p:nvGrpSpPr>
        <p:grpSpPr bwMode="auto">
          <a:xfrm>
            <a:off x="9550189" y="323850"/>
            <a:ext cx="2157876" cy="914400"/>
            <a:chOff x="6019" y="204"/>
            <a:chExt cx="1360" cy="576"/>
          </a:xfrm>
        </p:grpSpPr>
        <p:sp>
          <p:nvSpPr>
            <p:cNvPr id="6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7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8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9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10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11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12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13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14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15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16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17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18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19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20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21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22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23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24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25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26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27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28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29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30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31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32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</p:grpSp>
      <p:sp>
        <p:nvSpPr>
          <p:cNvPr id="33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6736" y="1412875"/>
            <a:ext cx="11082915" cy="215444"/>
          </a:xfrm>
        </p:spPr>
        <p:txBody>
          <a:bodyPr wrap="square">
            <a:spAutoFit/>
          </a:bodyPr>
          <a:lstStyle>
            <a:lvl1pPr>
              <a:defRPr sz="1399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</p:spTree>
    <p:custDataLst>
      <p:custData r:id="rId2"/>
      <p:tags r:id="rId3"/>
    </p:custDataLst>
    <p:extLst>
      <p:ext uri="{BB962C8B-B14F-4D97-AF65-F5344CB8AC3E}">
        <p14:creationId xmlns:p14="http://schemas.microsoft.com/office/powerpoint/2010/main" val="57057328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9423EE-A02F-3943-840B-685522B09A03}" type="datetime3">
              <a:rPr lang="nb-NO"/>
              <a:pPr>
                <a:defRPr/>
              </a:pPr>
              <a:t>2019.05.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178053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23F118-72E2-EB46-976C-4597B1BFB003}" type="datetime3">
              <a:rPr lang="nb-NO"/>
              <a:pPr>
                <a:defRPr/>
              </a:pPr>
              <a:t>2019.05.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538292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dekkende bilde svar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6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bIns="3600000" anchor="ctr" anchorCtr="1">
            <a:normAutofit/>
          </a:bodyPr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nb-NO" noProof="0"/>
              <a:t>Dra bildet til plassholderen eller klikk ikonet for å legge til</a:t>
            </a:r>
            <a:endParaRPr lang="nb-NO" noProof="0" dirty="0"/>
          </a:p>
        </p:txBody>
      </p:sp>
      <p:sp>
        <p:nvSpPr>
          <p:cNvPr id="4" name="Plassholder for dato 4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D2BD6898-62CB-2B45-BE17-C5283BCB7AFB}" type="datetime1">
              <a:rPr lang="nb-NO"/>
              <a:pPr>
                <a:defRPr/>
              </a:pPr>
              <a:t>29.05.2019</a:t>
            </a:fld>
            <a:endParaRPr lang="nb-NO" dirty="0"/>
          </a:p>
        </p:txBody>
      </p:sp>
      <p:sp>
        <p:nvSpPr>
          <p:cNvPr id="8" name="Plassholder for tekst 2"/>
          <p:cNvSpPr>
            <a:spLocks noGrp="1" noChangeAspect="1"/>
          </p:cNvSpPr>
          <p:nvPr>
            <p:ph type="body" idx="13"/>
          </p:nvPr>
        </p:nvSpPr>
        <p:spPr>
          <a:xfrm>
            <a:off x="11070721" y="6228000"/>
            <a:ext cx="900058" cy="41175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67134105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dekkende bilde hvi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6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bIns="3600000" anchor="ctr" anchorCtr="1">
            <a:normAutofit/>
          </a:bodyPr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nb-NO" noProof="0"/>
              <a:t>Dra bildet til plassholderen eller klikk ikonet for å legge til</a:t>
            </a:r>
            <a:endParaRPr lang="nb-NO" noProof="0" dirty="0"/>
          </a:p>
        </p:txBody>
      </p:sp>
      <p:sp>
        <p:nvSpPr>
          <p:cNvPr id="4" name="Plassholder for dato 4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D2BD6898-62CB-2B45-BE17-C5283BCB7AFB}" type="datetime1">
              <a:rPr lang="nb-NO"/>
              <a:pPr>
                <a:defRPr/>
              </a:pPr>
              <a:t>29.05.2019</a:t>
            </a:fld>
            <a:endParaRPr lang="nb-NO" dirty="0"/>
          </a:p>
        </p:txBody>
      </p:sp>
      <p:sp>
        <p:nvSpPr>
          <p:cNvPr id="6" name="Plassholder for tekst 2"/>
          <p:cNvSpPr>
            <a:spLocks noGrp="1" noChangeAspect="1"/>
          </p:cNvSpPr>
          <p:nvPr>
            <p:ph type="body" idx="13"/>
          </p:nvPr>
        </p:nvSpPr>
        <p:spPr>
          <a:xfrm>
            <a:off x="11070721" y="6228000"/>
            <a:ext cx="900058" cy="41175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93137166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e - fullskje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bilde 2"/>
          <p:cNvSpPr>
            <a:spLocks noGrp="1"/>
          </p:cNvSpPr>
          <p:nvPr>
            <p:ph type="pic" sz="quarter" idx="10"/>
          </p:nvPr>
        </p:nvSpPr>
        <p:spPr>
          <a:xfrm>
            <a:off x="7963" y="16979"/>
            <a:ext cx="12192000" cy="6858000"/>
          </a:xfrm>
        </p:spPr>
        <p:txBody>
          <a:bodyPr/>
          <a:lstStyle>
            <a:lvl1pPr marL="0" indent="0" algn="ctr">
              <a:spcBef>
                <a:spcPts val="799"/>
              </a:spcBef>
              <a:buNone/>
              <a:defRPr sz="1575"/>
            </a:lvl1pPr>
          </a:lstStyle>
          <a:p>
            <a:pPr lvl="0"/>
            <a:r>
              <a:rPr lang="nb-NO" noProof="0"/>
              <a:t>Dra bildet til plassholderen eller klikk ikonet for å legge til</a:t>
            </a:r>
            <a:endParaRPr lang="nb-NO" noProof="0" dirty="0"/>
          </a:p>
        </p:txBody>
      </p:sp>
      <p:sp>
        <p:nvSpPr>
          <p:cNvPr id="2" name="Plassholder for dato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9F0A8543-B8D4-5640-B923-FE5CBA124820}" type="datetime3">
              <a:rPr lang="nb-NO" smtClean="0"/>
              <a:pPr>
                <a:defRPr/>
              </a:pPr>
              <a:t>2019.05.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10142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ilde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ssholder for bilde 5"/>
          <p:cNvSpPr>
            <a:spLocks noGrp="1"/>
          </p:cNvSpPr>
          <p:nvPr>
            <p:ph type="pic" sz="quarter" idx="21"/>
          </p:nvPr>
        </p:nvSpPr>
        <p:spPr bwMode="auto">
          <a:xfrm>
            <a:off x="708183" y="4185083"/>
            <a:ext cx="4034091" cy="2110942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0 w 10000"/>
              <a:gd name="connsiteY0" fmla="*/ 2000 h 11450"/>
              <a:gd name="connsiteX1" fmla="*/ 10000 w 10000"/>
              <a:gd name="connsiteY1" fmla="*/ 0 h 11450"/>
              <a:gd name="connsiteX2" fmla="*/ 10000 w 10000"/>
              <a:gd name="connsiteY2" fmla="*/ 10000 h 11450"/>
              <a:gd name="connsiteX3" fmla="*/ 0 w 10000"/>
              <a:gd name="connsiteY3" fmla="*/ 11450 h 11450"/>
              <a:gd name="connsiteX4" fmla="*/ 0 w 10000"/>
              <a:gd name="connsiteY4" fmla="*/ 2000 h 11450"/>
              <a:gd name="connsiteX0" fmla="*/ 0 w 10000"/>
              <a:gd name="connsiteY0" fmla="*/ 0 h 11452"/>
              <a:gd name="connsiteX1" fmla="*/ 10000 w 10000"/>
              <a:gd name="connsiteY1" fmla="*/ 2 h 11452"/>
              <a:gd name="connsiteX2" fmla="*/ 10000 w 10000"/>
              <a:gd name="connsiteY2" fmla="*/ 10002 h 11452"/>
              <a:gd name="connsiteX3" fmla="*/ 0 w 10000"/>
              <a:gd name="connsiteY3" fmla="*/ 11452 h 11452"/>
              <a:gd name="connsiteX4" fmla="*/ 0 w 10000"/>
              <a:gd name="connsiteY4" fmla="*/ 0 h 11452"/>
              <a:gd name="connsiteX0" fmla="*/ 0 w 10000"/>
              <a:gd name="connsiteY0" fmla="*/ 0 h 11366"/>
              <a:gd name="connsiteX1" fmla="*/ 10000 w 10000"/>
              <a:gd name="connsiteY1" fmla="*/ 2 h 11366"/>
              <a:gd name="connsiteX2" fmla="*/ 10000 w 10000"/>
              <a:gd name="connsiteY2" fmla="*/ 10002 h 11366"/>
              <a:gd name="connsiteX3" fmla="*/ 0 w 10000"/>
              <a:gd name="connsiteY3" fmla="*/ 11366 h 11366"/>
              <a:gd name="connsiteX4" fmla="*/ 0 w 10000"/>
              <a:gd name="connsiteY4" fmla="*/ 0 h 11366"/>
              <a:gd name="connsiteX0" fmla="*/ 0 w 10000"/>
              <a:gd name="connsiteY0" fmla="*/ 0 h 11815"/>
              <a:gd name="connsiteX1" fmla="*/ 10000 w 10000"/>
              <a:gd name="connsiteY1" fmla="*/ 2 h 11815"/>
              <a:gd name="connsiteX2" fmla="*/ 10000 w 10000"/>
              <a:gd name="connsiteY2" fmla="*/ 10002 h 11815"/>
              <a:gd name="connsiteX3" fmla="*/ 0 w 10000"/>
              <a:gd name="connsiteY3" fmla="*/ 11815 h 11815"/>
              <a:gd name="connsiteX4" fmla="*/ 0 w 10000"/>
              <a:gd name="connsiteY4" fmla="*/ 0 h 11815"/>
              <a:gd name="connsiteX0" fmla="*/ 0 w 10000"/>
              <a:gd name="connsiteY0" fmla="*/ 0 h 11501"/>
              <a:gd name="connsiteX1" fmla="*/ 10000 w 10000"/>
              <a:gd name="connsiteY1" fmla="*/ 2 h 11501"/>
              <a:gd name="connsiteX2" fmla="*/ 10000 w 10000"/>
              <a:gd name="connsiteY2" fmla="*/ 10002 h 11501"/>
              <a:gd name="connsiteX3" fmla="*/ 0 w 10000"/>
              <a:gd name="connsiteY3" fmla="*/ 11501 h 11501"/>
              <a:gd name="connsiteX4" fmla="*/ 0 w 10000"/>
              <a:gd name="connsiteY4" fmla="*/ 0 h 11501"/>
              <a:gd name="connsiteX0" fmla="*/ 0 w 10000"/>
              <a:gd name="connsiteY0" fmla="*/ 0 h 11501"/>
              <a:gd name="connsiteX1" fmla="*/ 10000 w 10000"/>
              <a:gd name="connsiteY1" fmla="*/ 2 h 11501"/>
              <a:gd name="connsiteX2" fmla="*/ 10000 w 10000"/>
              <a:gd name="connsiteY2" fmla="*/ 10685 h 11501"/>
              <a:gd name="connsiteX3" fmla="*/ 0 w 10000"/>
              <a:gd name="connsiteY3" fmla="*/ 11501 h 11501"/>
              <a:gd name="connsiteX4" fmla="*/ 0 w 10000"/>
              <a:gd name="connsiteY4" fmla="*/ 0 h 11501"/>
              <a:gd name="connsiteX0" fmla="*/ 0 w 10000"/>
              <a:gd name="connsiteY0" fmla="*/ 0 h 11501"/>
              <a:gd name="connsiteX1" fmla="*/ 10000 w 10000"/>
              <a:gd name="connsiteY1" fmla="*/ 2 h 11501"/>
              <a:gd name="connsiteX2" fmla="*/ 10000 w 10000"/>
              <a:gd name="connsiteY2" fmla="*/ 10736 h 11501"/>
              <a:gd name="connsiteX3" fmla="*/ 0 w 10000"/>
              <a:gd name="connsiteY3" fmla="*/ 11501 h 11501"/>
              <a:gd name="connsiteX4" fmla="*/ 0 w 10000"/>
              <a:gd name="connsiteY4" fmla="*/ 0 h 11501"/>
              <a:gd name="connsiteX0" fmla="*/ 0 w 10000"/>
              <a:gd name="connsiteY0" fmla="*/ 0 h 11501"/>
              <a:gd name="connsiteX1" fmla="*/ 10000 w 10000"/>
              <a:gd name="connsiteY1" fmla="*/ 2 h 11501"/>
              <a:gd name="connsiteX2" fmla="*/ 10000 w 10000"/>
              <a:gd name="connsiteY2" fmla="*/ 9825 h 11501"/>
              <a:gd name="connsiteX3" fmla="*/ 0 w 10000"/>
              <a:gd name="connsiteY3" fmla="*/ 11501 h 11501"/>
              <a:gd name="connsiteX4" fmla="*/ 0 w 10000"/>
              <a:gd name="connsiteY4" fmla="*/ 0 h 11501"/>
              <a:gd name="connsiteX0" fmla="*/ 0 w 10000"/>
              <a:gd name="connsiteY0" fmla="*/ 0 h 11501"/>
              <a:gd name="connsiteX1" fmla="*/ 10000 w 10000"/>
              <a:gd name="connsiteY1" fmla="*/ 2 h 11501"/>
              <a:gd name="connsiteX2" fmla="*/ 10000 w 10000"/>
              <a:gd name="connsiteY2" fmla="*/ 9981 h 11501"/>
              <a:gd name="connsiteX3" fmla="*/ 0 w 10000"/>
              <a:gd name="connsiteY3" fmla="*/ 11501 h 11501"/>
              <a:gd name="connsiteX4" fmla="*/ 0 w 10000"/>
              <a:gd name="connsiteY4" fmla="*/ 0 h 11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1501">
                <a:moveTo>
                  <a:pt x="0" y="0"/>
                </a:moveTo>
                <a:lnTo>
                  <a:pt x="10000" y="2"/>
                </a:lnTo>
                <a:lnTo>
                  <a:pt x="10000" y="9981"/>
                </a:lnTo>
                <a:lnTo>
                  <a:pt x="0" y="11501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0" indent="0" algn="ctr">
              <a:buNone/>
              <a:defRPr/>
            </a:lvl1pPr>
          </a:lstStyle>
          <a:p>
            <a:endParaRPr lang="nb-NO"/>
          </a:p>
        </p:txBody>
      </p:sp>
      <p:sp>
        <p:nvSpPr>
          <p:cNvPr id="14" name="Plassholder for bilde 5"/>
          <p:cNvSpPr>
            <a:spLocks noGrp="1"/>
          </p:cNvSpPr>
          <p:nvPr>
            <p:ph type="pic" sz="quarter" idx="22"/>
          </p:nvPr>
        </p:nvSpPr>
        <p:spPr bwMode="auto">
          <a:xfrm>
            <a:off x="4896242" y="4185082"/>
            <a:ext cx="1955768" cy="1824722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0 w 10000"/>
              <a:gd name="connsiteY0" fmla="*/ 2000 h 11450"/>
              <a:gd name="connsiteX1" fmla="*/ 10000 w 10000"/>
              <a:gd name="connsiteY1" fmla="*/ 0 h 11450"/>
              <a:gd name="connsiteX2" fmla="*/ 10000 w 10000"/>
              <a:gd name="connsiteY2" fmla="*/ 10000 h 11450"/>
              <a:gd name="connsiteX3" fmla="*/ 0 w 10000"/>
              <a:gd name="connsiteY3" fmla="*/ 11450 h 11450"/>
              <a:gd name="connsiteX4" fmla="*/ 0 w 10000"/>
              <a:gd name="connsiteY4" fmla="*/ 2000 h 11450"/>
              <a:gd name="connsiteX0" fmla="*/ 0 w 10000"/>
              <a:gd name="connsiteY0" fmla="*/ 0 h 11452"/>
              <a:gd name="connsiteX1" fmla="*/ 10000 w 10000"/>
              <a:gd name="connsiteY1" fmla="*/ 2 h 11452"/>
              <a:gd name="connsiteX2" fmla="*/ 10000 w 10000"/>
              <a:gd name="connsiteY2" fmla="*/ 10002 h 11452"/>
              <a:gd name="connsiteX3" fmla="*/ 0 w 10000"/>
              <a:gd name="connsiteY3" fmla="*/ 11452 h 11452"/>
              <a:gd name="connsiteX4" fmla="*/ 0 w 10000"/>
              <a:gd name="connsiteY4" fmla="*/ 0 h 11452"/>
              <a:gd name="connsiteX0" fmla="*/ 0 w 10000"/>
              <a:gd name="connsiteY0" fmla="*/ 0 h 11366"/>
              <a:gd name="connsiteX1" fmla="*/ 10000 w 10000"/>
              <a:gd name="connsiteY1" fmla="*/ 2 h 11366"/>
              <a:gd name="connsiteX2" fmla="*/ 10000 w 10000"/>
              <a:gd name="connsiteY2" fmla="*/ 10002 h 11366"/>
              <a:gd name="connsiteX3" fmla="*/ 0 w 10000"/>
              <a:gd name="connsiteY3" fmla="*/ 11366 h 11366"/>
              <a:gd name="connsiteX4" fmla="*/ 0 w 10000"/>
              <a:gd name="connsiteY4" fmla="*/ 0 h 11366"/>
              <a:gd name="connsiteX0" fmla="*/ 0 w 10000"/>
              <a:gd name="connsiteY0" fmla="*/ 0 h 11815"/>
              <a:gd name="connsiteX1" fmla="*/ 10000 w 10000"/>
              <a:gd name="connsiteY1" fmla="*/ 2 h 11815"/>
              <a:gd name="connsiteX2" fmla="*/ 10000 w 10000"/>
              <a:gd name="connsiteY2" fmla="*/ 10002 h 11815"/>
              <a:gd name="connsiteX3" fmla="*/ 0 w 10000"/>
              <a:gd name="connsiteY3" fmla="*/ 11815 h 11815"/>
              <a:gd name="connsiteX4" fmla="*/ 0 w 10000"/>
              <a:gd name="connsiteY4" fmla="*/ 0 h 11815"/>
              <a:gd name="connsiteX0" fmla="*/ 0 w 10000"/>
              <a:gd name="connsiteY0" fmla="*/ 0 h 11501"/>
              <a:gd name="connsiteX1" fmla="*/ 10000 w 10000"/>
              <a:gd name="connsiteY1" fmla="*/ 2 h 11501"/>
              <a:gd name="connsiteX2" fmla="*/ 10000 w 10000"/>
              <a:gd name="connsiteY2" fmla="*/ 10002 h 11501"/>
              <a:gd name="connsiteX3" fmla="*/ 0 w 10000"/>
              <a:gd name="connsiteY3" fmla="*/ 11501 h 11501"/>
              <a:gd name="connsiteX4" fmla="*/ 0 w 10000"/>
              <a:gd name="connsiteY4" fmla="*/ 0 h 11501"/>
              <a:gd name="connsiteX0" fmla="*/ 0 w 10000"/>
              <a:gd name="connsiteY0" fmla="*/ 0 h 11501"/>
              <a:gd name="connsiteX1" fmla="*/ 10000 w 10000"/>
              <a:gd name="connsiteY1" fmla="*/ 2 h 11501"/>
              <a:gd name="connsiteX2" fmla="*/ 10000 w 10000"/>
              <a:gd name="connsiteY2" fmla="*/ 10685 h 11501"/>
              <a:gd name="connsiteX3" fmla="*/ 0 w 10000"/>
              <a:gd name="connsiteY3" fmla="*/ 11501 h 11501"/>
              <a:gd name="connsiteX4" fmla="*/ 0 w 10000"/>
              <a:gd name="connsiteY4" fmla="*/ 0 h 11501"/>
              <a:gd name="connsiteX0" fmla="*/ 0 w 10000"/>
              <a:gd name="connsiteY0" fmla="*/ 0 h 11501"/>
              <a:gd name="connsiteX1" fmla="*/ 10000 w 10000"/>
              <a:gd name="connsiteY1" fmla="*/ 2 h 11501"/>
              <a:gd name="connsiteX2" fmla="*/ 10000 w 10000"/>
              <a:gd name="connsiteY2" fmla="*/ 10736 h 11501"/>
              <a:gd name="connsiteX3" fmla="*/ 0 w 10000"/>
              <a:gd name="connsiteY3" fmla="*/ 11501 h 11501"/>
              <a:gd name="connsiteX4" fmla="*/ 0 w 10000"/>
              <a:gd name="connsiteY4" fmla="*/ 0 h 11501"/>
              <a:gd name="connsiteX0" fmla="*/ 0 w 10000"/>
              <a:gd name="connsiteY0" fmla="*/ 0 h 11501"/>
              <a:gd name="connsiteX1" fmla="*/ 10000 w 10000"/>
              <a:gd name="connsiteY1" fmla="*/ 2 h 11501"/>
              <a:gd name="connsiteX2" fmla="*/ 10000 w 10000"/>
              <a:gd name="connsiteY2" fmla="*/ 9825 h 11501"/>
              <a:gd name="connsiteX3" fmla="*/ 0 w 10000"/>
              <a:gd name="connsiteY3" fmla="*/ 11501 h 11501"/>
              <a:gd name="connsiteX4" fmla="*/ 0 w 10000"/>
              <a:gd name="connsiteY4" fmla="*/ 0 h 11501"/>
              <a:gd name="connsiteX0" fmla="*/ 0 w 10000"/>
              <a:gd name="connsiteY0" fmla="*/ 0 h 11501"/>
              <a:gd name="connsiteX1" fmla="*/ 10000 w 10000"/>
              <a:gd name="connsiteY1" fmla="*/ 2 h 11501"/>
              <a:gd name="connsiteX2" fmla="*/ 10000 w 10000"/>
              <a:gd name="connsiteY2" fmla="*/ 9981 h 11501"/>
              <a:gd name="connsiteX3" fmla="*/ 0 w 10000"/>
              <a:gd name="connsiteY3" fmla="*/ 11501 h 11501"/>
              <a:gd name="connsiteX4" fmla="*/ 0 w 10000"/>
              <a:gd name="connsiteY4" fmla="*/ 0 h 11501"/>
              <a:gd name="connsiteX0" fmla="*/ 0 w 10000"/>
              <a:gd name="connsiteY0" fmla="*/ 0 h 11501"/>
              <a:gd name="connsiteX1" fmla="*/ 10000 w 10000"/>
              <a:gd name="connsiteY1" fmla="*/ 2 h 11501"/>
              <a:gd name="connsiteX2" fmla="*/ 9951 w 10000"/>
              <a:gd name="connsiteY2" fmla="*/ 10761 h 11501"/>
              <a:gd name="connsiteX3" fmla="*/ 0 w 10000"/>
              <a:gd name="connsiteY3" fmla="*/ 11501 h 11501"/>
              <a:gd name="connsiteX4" fmla="*/ 0 w 10000"/>
              <a:gd name="connsiteY4" fmla="*/ 0 h 11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1501">
                <a:moveTo>
                  <a:pt x="0" y="0"/>
                </a:moveTo>
                <a:lnTo>
                  <a:pt x="10000" y="2"/>
                </a:lnTo>
                <a:cubicBezTo>
                  <a:pt x="9984" y="3588"/>
                  <a:pt x="9967" y="7175"/>
                  <a:pt x="9951" y="10761"/>
                </a:cubicBezTo>
                <a:lnTo>
                  <a:pt x="0" y="11501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0" indent="0" algn="ctr">
              <a:buNone/>
              <a:defRPr/>
            </a:lvl1pPr>
          </a:lstStyle>
          <a:p>
            <a:endParaRPr lang="nb-NO"/>
          </a:p>
        </p:txBody>
      </p:sp>
      <p:sp>
        <p:nvSpPr>
          <p:cNvPr id="4" name="Plassholder for bilde 3"/>
          <p:cNvSpPr>
            <a:spLocks noGrp="1"/>
          </p:cNvSpPr>
          <p:nvPr>
            <p:ph type="pic" sz="quarter" idx="15"/>
          </p:nvPr>
        </p:nvSpPr>
        <p:spPr>
          <a:xfrm>
            <a:off x="2798463" y="540000"/>
            <a:ext cx="4053546" cy="3521361"/>
          </a:xfrm>
          <a:ln>
            <a:noFill/>
          </a:ln>
        </p:spPr>
        <p:txBody>
          <a:bodyPr/>
          <a:lstStyle>
            <a:lvl1pPr marL="0" indent="0" algn="ctr">
              <a:buNone/>
              <a:defRPr sz="937"/>
            </a:lvl1pPr>
          </a:lstStyle>
          <a:p>
            <a:pPr lvl="0"/>
            <a:r>
              <a:rPr lang="nb-NO" noProof="0" dirty="0"/>
              <a:t>Dra bildet til plassholderen eller klikk ikonet for å legge til</a:t>
            </a: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186838" y="540000"/>
            <a:ext cx="4291561" cy="900000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7186838" y="1512001"/>
            <a:ext cx="4285761" cy="4365272"/>
          </a:xfrm>
        </p:spPr>
        <p:txBody>
          <a:bodyPr/>
          <a:lstStyle>
            <a:lvl1pPr marL="239022" indent="-239022">
              <a:defRPr/>
            </a:lvl1pPr>
            <a:lvl2pPr marL="575610" indent="-287805">
              <a:defRPr/>
            </a:lvl2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8" name="Plassholder for dato 3"/>
          <p:cNvSpPr>
            <a:spLocks noGrp="1"/>
          </p:cNvSpPr>
          <p:nvPr>
            <p:ph type="dt" sz="half" idx="18"/>
          </p:nvPr>
        </p:nvSpPr>
        <p:spPr>
          <a:xfrm>
            <a:off x="718930" y="6308826"/>
            <a:ext cx="2354748" cy="36611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1CA2C1-1237-1D47-AF4A-A6622A1FF592}" type="datetime3">
              <a:rPr lang="nb-NO"/>
              <a:pPr>
                <a:defRPr/>
              </a:pPr>
              <a:t>2019.05.29</a:t>
            </a:fld>
            <a:endParaRPr lang="en-US"/>
          </a:p>
        </p:txBody>
      </p:sp>
      <p:sp>
        <p:nvSpPr>
          <p:cNvPr id="11" name="Plassholder for bilde 5"/>
          <p:cNvSpPr>
            <a:spLocks noGrp="1"/>
          </p:cNvSpPr>
          <p:nvPr>
            <p:ph type="pic" sz="quarter" idx="20" hasCustomPrompt="1"/>
          </p:nvPr>
        </p:nvSpPr>
        <p:spPr>
          <a:xfrm>
            <a:off x="727100" y="540001"/>
            <a:ext cx="1943810" cy="3508145"/>
          </a:xfrm>
          <a:ln>
            <a:noFill/>
          </a:ln>
        </p:spPr>
        <p:txBody>
          <a:bodyPr/>
          <a:lstStyle>
            <a:lvl1pPr marL="0" indent="0" algn="ctr">
              <a:buNone/>
              <a:defRPr sz="937"/>
            </a:lvl1pPr>
          </a:lstStyle>
          <a:p>
            <a:pPr lvl="0"/>
            <a:r>
              <a:rPr lang="nb-NO" noProof="0" dirty="0"/>
              <a:t>Dra bildet til plassholderen eller klikk ikonet for å legge </a:t>
            </a:r>
            <a:r>
              <a:rPr lang="nb-NO" noProof="0" dirty="0" err="1"/>
              <a:t>tilv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218904335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23F118-72E2-EB46-976C-4597B1BFB003}" type="datetime3">
              <a:rPr lang="nb-NO"/>
              <a:pPr>
                <a:defRPr/>
              </a:pPr>
              <a:t>2019.05.29</a:t>
            </a:fld>
            <a:endParaRPr lang="en-US"/>
          </a:p>
        </p:txBody>
      </p:sp>
      <p:sp>
        <p:nvSpPr>
          <p:cNvPr id="3" name="Plassholder for bilde 9"/>
          <p:cNvSpPr>
            <a:spLocks noGrp="1"/>
          </p:cNvSpPr>
          <p:nvPr>
            <p:ph type="pic" sz="quarter" idx="11"/>
          </p:nvPr>
        </p:nvSpPr>
        <p:spPr bwMode="auto">
          <a:xfrm>
            <a:off x="1" y="-13687"/>
            <a:ext cx="12195319" cy="6880604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 w 10000"/>
              <a:gd name="connsiteY1" fmla="*/ 0 h 10000"/>
              <a:gd name="connsiteX2" fmla="*/ 10000 w 10000"/>
              <a:gd name="connsiteY2" fmla="*/ 0 h 10000"/>
              <a:gd name="connsiteX3" fmla="*/ 908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20"/>
              <a:gd name="connsiteX1" fmla="*/ 2 w 10000"/>
              <a:gd name="connsiteY1" fmla="*/ 0 h 10020"/>
              <a:gd name="connsiteX2" fmla="*/ 10000 w 10000"/>
              <a:gd name="connsiteY2" fmla="*/ 0 h 10020"/>
              <a:gd name="connsiteX3" fmla="*/ 8116 w 10000"/>
              <a:gd name="connsiteY3" fmla="*/ 10020 h 10020"/>
              <a:gd name="connsiteX4" fmla="*/ 0 w 10000"/>
              <a:gd name="connsiteY4" fmla="*/ 10000 h 10020"/>
              <a:gd name="connsiteX0" fmla="*/ 0 w 10000"/>
              <a:gd name="connsiteY0" fmla="*/ 10000 h 10020"/>
              <a:gd name="connsiteX1" fmla="*/ 2 w 10000"/>
              <a:gd name="connsiteY1" fmla="*/ 0 h 10020"/>
              <a:gd name="connsiteX2" fmla="*/ 10000 w 10000"/>
              <a:gd name="connsiteY2" fmla="*/ 0 h 10020"/>
              <a:gd name="connsiteX3" fmla="*/ 8116 w 10000"/>
              <a:gd name="connsiteY3" fmla="*/ 10020 h 10020"/>
              <a:gd name="connsiteX4" fmla="*/ 0 w 10000"/>
              <a:gd name="connsiteY4" fmla="*/ 10000 h 10020"/>
              <a:gd name="connsiteX0" fmla="*/ 0 w 10000"/>
              <a:gd name="connsiteY0" fmla="*/ 10000 h 10020"/>
              <a:gd name="connsiteX1" fmla="*/ 2 w 10000"/>
              <a:gd name="connsiteY1" fmla="*/ 0 h 10020"/>
              <a:gd name="connsiteX2" fmla="*/ 10000 w 10000"/>
              <a:gd name="connsiteY2" fmla="*/ 0 h 10020"/>
              <a:gd name="connsiteX3" fmla="*/ 8116 w 10000"/>
              <a:gd name="connsiteY3" fmla="*/ 10020 h 10020"/>
              <a:gd name="connsiteX4" fmla="*/ 0 w 10000"/>
              <a:gd name="connsiteY4" fmla="*/ 10000 h 10020"/>
              <a:gd name="connsiteX0" fmla="*/ 0 w 10000"/>
              <a:gd name="connsiteY0" fmla="*/ 10000 h 10020"/>
              <a:gd name="connsiteX1" fmla="*/ 2 w 10000"/>
              <a:gd name="connsiteY1" fmla="*/ 0 h 10020"/>
              <a:gd name="connsiteX2" fmla="*/ 10000 w 10000"/>
              <a:gd name="connsiteY2" fmla="*/ 0 h 10020"/>
              <a:gd name="connsiteX3" fmla="*/ 8116 w 10000"/>
              <a:gd name="connsiteY3" fmla="*/ 10020 h 10020"/>
              <a:gd name="connsiteX4" fmla="*/ 0 w 10000"/>
              <a:gd name="connsiteY4" fmla="*/ 10000 h 10020"/>
              <a:gd name="connsiteX0" fmla="*/ 0 w 10000"/>
              <a:gd name="connsiteY0" fmla="*/ 10000 h 10020"/>
              <a:gd name="connsiteX1" fmla="*/ 2 w 10000"/>
              <a:gd name="connsiteY1" fmla="*/ 0 h 10020"/>
              <a:gd name="connsiteX2" fmla="*/ 10000 w 10000"/>
              <a:gd name="connsiteY2" fmla="*/ 0 h 10020"/>
              <a:gd name="connsiteX3" fmla="*/ 8116 w 10000"/>
              <a:gd name="connsiteY3" fmla="*/ 10020 h 10020"/>
              <a:gd name="connsiteX4" fmla="*/ 0 w 10000"/>
              <a:gd name="connsiteY4" fmla="*/ 10000 h 10020"/>
              <a:gd name="connsiteX0" fmla="*/ 0 w 10000"/>
              <a:gd name="connsiteY0" fmla="*/ 10000 h 10020"/>
              <a:gd name="connsiteX1" fmla="*/ 2 w 10000"/>
              <a:gd name="connsiteY1" fmla="*/ 0 h 10020"/>
              <a:gd name="connsiteX2" fmla="*/ 10000 w 10000"/>
              <a:gd name="connsiteY2" fmla="*/ 0 h 10020"/>
              <a:gd name="connsiteX3" fmla="*/ 8359 w 10000"/>
              <a:gd name="connsiteY3" fmla="*/ 10020 h 10020"/>
              <a:gd name="connsiteX4" fmla="*/ 0 w 10000"/>
              <a:gd name="connsiteY4" fmla="*/ 10000 h 10020"/>
              <a:gd name="connsiteX0" fmla="*/ 0 w 10000"/>
              <a:gd name="connsiteY0" fmla="*/ 10000 h 10020"/>
              <a:gd name="connsiteX1" fmla="*/ 2 w 10000"/>
              <a:gd name="connsiteY1" fmla="*/ 0 h 10020"/>
              <a:gd name="connsiteX2" fmla="*/ 10000 w 10000"/>
              <a:gd name="connsiteY2" fmla="*/ 0 h 10020"/>
              <a:gd name="connsiteX3" fmla="*/ 8359 w 10000"/>
              <a:gd name="connsiteY3" fmla="*/ 10020 h 10020"/>
              <a:gd name="connsiteX4" fmla="*/ 0 w 10000"/>
              <a:gd name="connsiteY4" fmla="*/ 10000 h 10020"/>
              <a:gd name="connsiteX0" fmla="*/ 0 w 10000"/>
              <a:gd name="connsiteY0" fmla="*/ 10000 h 10020"/>
              <a:gd name="connsiteX1" fmla="*/ 2 w 10000"/>
              <a:gd name="connsiteY1" fmla="*/ 0 h 10020"/>
              <a:gd name="connsiteX2" fmla="*/ 10000 w 10000"/>
              <a:gd name="connsiteY2" fmla="*/ 0 h 10020"/>
              <a:gd name="connsiteX3" fmla="*/ 8359 w 10000"/>
              <a:gd name="connsiteY3" fmla="*/ 10020 h 10020"/>
              <a:gd name="connsiteX4" fmla="*/ 0 w 10000"/>
              <a:gd name="connsiteY4" fmla="*/ 10000 h 10020"/>
              <a:gd name="connsiteX0" fmla="*/ 0 w 9919"/>
              <a:gd name="connsiteY0" fmla="*/ 10000 h 10020"/>
              <a:gd name="connsiteX1" fmla="*/ 2 w 9919"/>
              <a:gd name="connsiteY1" fmla="*/ 0 h 10020"/>
              <a:gd name="connsiteX2" fmla="*/ 9919 w 9919"/>
              <a:gd name="connsiteY2" fmla="*/ 0 h 10020"/>
              <a:gd name="connsiteX3" fmla="*/ 8359 w 9919"/>
              <a:gd name="connsiteY3" fmla="*/ 10020 h 10020"/>
              <a:gd name="connsiteX4" fmla="*/ 0 w 9919"/>
              <a:gd name="connsiteY4" fmla="*/ 10000 h 10020"/>
              <a:gd name="connsiteX0" fmla="*/ 0 w 10000"/>
              <a:gd name="connsiteY0" fmla="*/ 9980 h 10000"/>
              <a:gd name="connsiteX1" fmla="*/ 2 w 10000"/>
              <a:gd name="connsiteY1" fmla="*/ 0 h 10000"/>
              <a:gd name="connsiteX2" fmla="*/ 9683 w 10000"/>
              <a:gd name="connsiteY2" fmla="*/ 3 h 10000"/>
              <a:gd name="connsiteX3" fmla="*/ 10000 w 10000"/>
              <a:gd name="connsiteY3" fmla="*/ 0 h 10000"/>
              <a:gd name="connsiteX4" fmla="*/ 8427 w 10000"/>
              <a:gd name="connsiteY4" fmla="*/ 10000 h 10000"/>
              <a:gd name="connsiteX5" fmla="*/ 0 w 10000"/>
              <a:gd name="connsiteY5" fmla="*/ 9980 h 10000"/>
              <a:gd name="connsiteX0" fmla="*/ 0 w 9683"/>
              <a:gd name="connsiteY0" fmla="*/ 9980 h 10000"/>
              <a:gd name="connsiteX1" fmla="*/ 2 w 9683"/>
              <a:gd name="connsiteY1" fmla="*/ 0 h 10000"/>
              <a:gd name="connsiteX2" fmla="*/ 9683 w 9683"/>
              <a:gd name="connsiteY2" fmla="*/ 3 h 10000"/>
              <a:gd name="connsiteX3" fmla="*/ 9656 w 9683"/>
              <a:gd name="connsiteY3" fmla="*/ 2179 h 10000"/>
              <a:gd name="connsiteX4" fmla="*/ 8427 w 9683"/>
              <a:gd name="connsiteY4" fmla="*/ 10000 h 10000"/>
              <a:gd name="connsiteX5" fmla="*/ 0 w 9683"/>
              <a:gd name="connsiteY5" fmla="*/ 9980 h 10000"/>
              <a:gd name="connsiteX0" fmla="*/ 0 w 10000"/>
              <a:gd name="connsiteY0" fmla="*/ 9980 h 10000"/>
              <a:gd name="connsiteX1" fmla="*/ 2 w 10000"/>
              <a:gd name="connsiteY1" fmla="*/ 0 h 10000"/>
              <a:gd name="connsiteX2" fmla="*/ 10000 w 10000"/>
              <a:gd name="connsiteY2" fmla="*/ 3 h 10000"/>
              <a:gd name="connsiteX3" fmla="*/ 9972 w 10000"/>
              <a:gd name="connsiteY3" fmla="*/ 2179 h 10000"/>
              <a:gd name="connsiteX4" fmla="*/ 8703 w 10000"/>
              <a:gd name="connsiteY4" fmla="*/ 10000 h 10000"/>
              <a:gd name="connsiteX5" fmla="*/ 0 w 10000"/>
              <a:gd name="connsiteY5" fmla="*/ 9980 h 10000"/>
              <a:gd name="connsiteX0" fmla="*/ 0 w 10000"/>
              <a:gd name="connsiteY0" fmla="*/ 9980 h 10000"/>
              <a:gd name="connsiteX1" fmla="*/ 2 w 10000"/>
              <a:gd name="connsiteY1" fmla="*/ 0 h 10000"/>
              <a:gd name="connsiteX2" fmla="*/ 10000 w 10000"/>
              <a:gd name="connsiteY2" fmla="*/ 3 h 10000"/>
              <a:gd name="connsiteX3" fmla="*/ 9972 w 10000"/>
              <a:gd name="connsiteY3" fmla="*/ 2179 h 10000"/>
              <a:gd name="connsiteX4" fmla="*/ 8703 w 10000"/>
              <a:gd name="connsiteY4" fmla="*/ 10000 h 10000"/>
              <a:gd name="connsiteX5" fmla="*/ 0 w 10000"/>
              <a:gd name="connsiteY5" fmla="*/ 9980 h 10000"/>
              <a:gd name="connsiteX0" fmla="*/ 0 w 10000"/>
              <a:gd name="connsiteY0" fmla="*/ 9980 h 10000"/>
              <a:gd name="connsiteX1" fmla="*/ 2 w 10000"/>
              <a:gd name="connsiteY1" fmla="*/ 0 h 10000"/>
              <a:gd name="connsiteX2" fmla="*/ 10000 w 10000"/>
              <a:gd name="connsiteY2" fmla="*/ 3 h 10000"/>
              <a:gd name="connsiteX3" fmla="*/ 9972 w 10000"/>
              <a:gd name="connsiteY3" fmla="*/ 2162 h 10000"/>
              <a:gd name="connsiteX4" fmla="*/ 8703 w 10000"/>
              <a:gd name="connsiteY4" fmla="*/ 10000 h 10000"/>
              <a:gd name="connsiteX5" fmla="*/ 0 w 10000"/>
              <a:gd name="connsiteY5" fmla="*/ 9980 h 10000"/>
              <a:gd name="connsiteX0" fmla="*/ 0 w 10000"/>
              <a:gd name="connsiteY0" fmla="*/ 9980 h 10000"/>
              <a:gd name="connsiteX1" fmla="*/ 2 w 10000"/>
              <a:gd name="connsiteY1" fmla="*/ 0 h 10000"/>
              <a:gd name="connsiteX2" fmla="*/ 10000 w 10000"/>
              <a:gd name="connsiteY2" fmla="*/ 3 h 10000"/>
              <a:gd name="connsiteX3" fmla="*/ 9972 w 10000"/>
              <a:gd name="connsiteY3" fmla="*/ 2162 h 10000"/>
              <a:gd name="connsiteX4" fmla="*/ 8703 w 10000"/>
              <a:gd name="connsiteY4" fmla="*/ 10000 h 10000"/>
              <a:gd name="connsiteX5" fmla="*/ 0 w 10000"/>
              <a:gd name="connsiteY5" fmla="*/ 9980 h 10000"/>
              <a:gd name="connsiteX0" fmla="*/ 0 w 9972"/>
              <a:gd name="connsiteY0" fmla="*/ 9980 h 10000"/>
              <a:gd name="connsiteX1" fmla="*/ 2 w 9972"/>
              <a:gd name="connsiteY1" fmla="*/ 0 h 10000"/>
              <a:gd name="connsiteX2" fmla="*/ 9747 w 9972"/>
              <a:gd name="connsiteY2" fmla="*/ 3 h 10000"/>
              <a:gd name="connsiteX3" fmla="*/ 9972 w 9972"/>
              <a:gd name="connsiteY3" fmla="*/ 2162 h 10000"/>
              <a:gd name="connsiteX4" fmla="*/ 8703 w 9972"/>
              <a:gd name="connsiteY4" fmla="*/ 10000 h 10000"/>
              <a:gd name="connsiteX5" fmla="*/ 0 w 9972"/>
              <a:gd name="connsiteY5" fmla="*/ 9980 h 10000"/>
              <a:gd name="connsiteX0" fmla="*/ 0 w 10018"/>
              <a:gd name="connsiteY0" fmla="*/ 9980 h 10000"/>
              <a:gd name="connsiteX1" fmla="*/ 2 w 10018"/>
              <a:gd name="connsiteY1" fmla="*/ 0 h 10000"/>
              <a:gd name="connsiteX2" fmla="*/ 10018 w 10018"/>
              <a:gd name="connsiteY2" fmla="*/ 20 h 10000"/>
              <a:gd name="connsiteX3" fmla="*/ 10000 w 10018"/>
              <a:gd name="connsiteY3" fmla="*/ 2162 h 10000"/>
              <a:gd name="connsiteX4" fmla="*/ 8727 w 10018"/>
              <a:gd name="connsiteY4" fmla="*/ 10000 h 10000"/>
              <a:gd name="connsiteX5" fmla="*/ 0 w 10018"/>
              <a:gd name="connsiteY5" fmla="*/ 9980 h 10000"/>
              <a:gd name="connsiteX0" fmla="*/ 0 w 10018"/>
              <a:gd name="connsiteY0" fmla="*/ 9980 h 10000"/>
              <a:gd name="connsiteX1" fmla="*/ 2 w 10018"/>
              <a:gd name="connsiteY1" fmla="*/ 0 h 10000"/>
              <a:gd name="connsiteX2" fmla="*/ 10018 w 10018"/>
              <a:gd name="connsiteY2" fmla="*/ 37 h 10000"/>
              <a:gd name="connsiteX3" fmla="*/ 10000 w 10018"/>
              <a:gd name="connsiteY3" fmla="*/ 2162 h 10000"/>
              <a:gd name="connsiteX4" fmla="*/ 8727 w 10018"/>
              <a:gd name="connsiteY4" fmla="*/ 10000 h 10000"/>
              <a:gd name="connsiteX5" fmla="*/ 0 w 10018"/>
              <a:gd name="connsiteY5" fmla="*/ 9980 h 10000"/>
              <a:gd name="connsiteX0" fmla="*/ 0 w 10009"/>
              <a:gd name="connsiteY0" fmla="*/ 9980 h 10000"/>
              <a:gd name="connsiteX1" fmla="*/ 2 w 10009"/>
              <a:gd name="connsiteY1" fmla="*/ 0 h 10000"/>
              <a:gd name="connsiteX2" fmla="*/ 10009 w 10009"/>
              <a:gd name="connsiteY2" fmla="*/ 37 h 10000"/>
              <a:gd name="connsiteX3" fmla="*/ 10000 w 10009"/>
              <a:gd name="connsiteY3" fmla="*/ 2162 h 10000"/>
              <a:gd name="connsiteX4" fmla="*/ 8727 w 10009"/>
              <a:gd name="connsiteY4" fmla="*/ 10000 h 10000"/>
              <a:gd name="connsiteX5" fmla="*/ 0 w 10009"/>
              <a:gd name="connsiteY5" fmla="*/ 9980 h 10000"/>
              <a:gd name="connsiteX0" fmla="*/ 0 w 10009"/>
              <a:gd name="connsiteY0" fmla="*/ 9980 h 10000"/>
              <a:gd name="connsiteX1" fmla="*/ 2 w 10009"/>
              <a:gd name="connsiteY1" fmla="*/ 0 h 10000"/>
              <a:gd name="connsiteX2" fmla="*/ 10009 w 10009"/>
              <a:gd name="connsiteY2" fmla="*/ 20 h 10000"/>
              <a:gd name="connsiteX3" fmla="*/ 10000 w 10009"/>
              <a:gd name="connsiteY3" fmla="*/ 2162 h 10000"/>
              <a:gd name="connsiteX4" fmla="*/ 8727 w 10009"/>
              <a:gd name="connsiteY4" fmla="*/ 10000 h 10000"/>
              <a:gd name="connsiteX5" fmla="*/ 0 w 10009"/>
              <a:gd name="connsiteY5" fmla="*/ 9980 h 10000"/>
              <a:gd name="connsiteX0" fmla="*/ 0 w 10009"/>
              <a:gd name="connsiteY0" fmla="*/ 9980 h 10000"/>
              <a:gd name="connsiteX1" fmla="*/ 11 w 10009"/>
              <a:gd name="connsiteY1" fmla="*/ 0 h 10000"/>
              <a:gd name="connsiteX2" fmla="*/ 10009 w 10009"/>
              <a:gd name="connsiteY2" fmla="*/ 20 h 10000"/>
              <a:gd name="connsiteX3" fmla="*/ 10000 w 10009"/>
              <a:gd name="connsiteY3" fmla="*/ 2162 h 10000"/>
              <a:gd name="connsiteX4" fmla="*/ 8727 w 10009"/>
              <a:gd name="connsiteY4" fmla="*/ 10000 h 10000"/>
              <a:gd name="connsiteX5" fmla="*/ 0 w 10009"/>
              <a:gd name="connsiteY5" fmla="*/ 9980 h 10000"/>
              <a:gd name="connsiteX0" fmla="*/ 0 w 10009"/>
              <a:gd name="connsiteY0" fmla="*/ 9960 h 9980"/>
              <a:gd name="connsiteX1" fmla="*/ 11 w 10009"/>
              <a:gd name="connsiteY1" fmla="*/ 279 h 9980"/>
              <a:gd name="connsiteX2" fmla="*/ 10009 w 10009"/>
              <a:gd name="connsiteY2" fmla="*/ 0 h 9980"/>
              <a:gd name="connsiteX3" fmla="*/ 10000 w 10009"/>
              <a:gd name="connsiteY3" fmla="*/ 2142 h 9980"/>
              <a:gd name="connsiteX4" fmla="*/ 8727 w 10009"/>
              <a:gd name="connsiteY4" fmla="*/ 9980 h 9980"/>
              <a:gd name="connsiteX5" fmla="*/ 0 w 10009"/>
              <a:gd name="connsiteY5" fmla="*/ 9960 h 9980"/>
              <a:gd name="connsiteX0" fmla="*/ 0 w 10000"/>
              <a:gd name="connsiteY0" fmla="*/ 10000 h 10020"/>
              <a:gd name="connsiteX1" fmla="*/ 2 w 10000"/>
              <a:gd name="connsiteY1" fmla="*/ 0 h 10020"/>
              <a:gd name="connsiteX2" fmla="*/ 10000 w 10000"/>
              <a:gd name="connsiteY2" fmla="*/ 20 h 10020"/>
              <a:gd name="connsiteX3" fmla="*/ 9991 w 10000"/>
              <a:gd name="connsiteY3" fmla="*/ 2166 h 10020"/>
              <a:gd name="connsiteX4" fmla="*/ 8719 w 10000"/>
              <a:gd name="connsiteY4" fmla="*/ 10020 h 10020"/>
              <a:gd name="connsiteX5" fmla="*/ 0 w 10000"/>
              <a:gd name="connsiteY5" fmla="*/ 10000 h 10020"/>
              <a:gd name="connsiteX0" fmla="*/ 0 w 10000"/>
              <a:gd name="connsiteY0" fmla="*/ 10033 h 10033"/>
              <a:gd name="connsiteX1" fmla="*/ 2 w 10000"/>
              <a:gd name="connsiteY1" fmla="*/ 0 h 10033"/>
              <a:gd name="connsiteX2" fmla="*/ 10000 w 10000"/>
              <a:gd name="connsiteY2" fmla="*/ 20 h 10033"/>
              <a:gd name="connsiteX3" fmla="*/ 9991 w 10000"/>
              <a:gd name="connsiteY3" fmla="*/ 2166 h 10033"/>
              <a:gd name="connsiteX4" fmla="*/ 8719 w 10000"/>
              <a:gd name="connsiteY4" fmla="*/ 10020 h 10033"/>
              <a:gd name="connsiteX5" fmla="*/ 0 w 10000"/>
              <a:gd name="connsiteY5" fmla="*/ 10033 h 10033"/>
              <a:gd name="connsiteX0" fmla="*/ 0 w 10001"/>
              <a:gd name="connsiteY0" fmla="*/ 10033 h 10033"/>
              <a:gd name="connsiteX1" fmla="*/ 2 w 10001"/>
              <a:gd name="connsiteY1" fmla="*/ 0 h 10033"/>
              <a:gd name="connsiteX2" fmla="*/ 10000 w 10001"/>
              <a:gd name="connsiteY2" fmla="*/ 20 h 10033"/>
              <a:gd name="connsiteX3" fmla="*/ 9999 w 10001"/>
              <a:gd name="connsiteY3" fmla="*/ 2152 h 10033"/>
              <a:gd name="connsiteX4" fmla="*/ 8719 w 10001"/>
              <a:gd name="connsiteY4" fmla="*/ 10020 h 10033"/>
              <a:gd name="connsiteX5" fmla="*/ 0 w 10001"/>
              <a:gd name="connsiteY5" fmla="*/ 10033 h 100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1" h="10033">
                <a:moveTo>
                  <a:pt x="0" y="10033"/>
                </a:moveTo>
                <a:cubicBezTo>
                  <a:pt x="1" y="6700"/>
                  <a:pt x="1" y="3332"/>
                  <a:pt x="2" y="0"/>
                </a:cubicBezTo>
                <a:lnTo>
                  <a:pt x="10000" y="20"/>
                </a:lnTo>
                <a:cubicBezTo>
                  <a:pt x="9991" y="746"/>
                  <a:pt x="10008" y="1426"/>
                  <a:pt x="9999" y="2152"/>
                </a:cubicBezTo>
                <a:cubicBezTo>
                  <a:pt x="9442" y="5618"/>
                  <a:pt x="9267" y="6657"/>
                  <a:pt x="8719" y="10020"/>
                </a:cubicBezTo>
                <a:lnTo>
                  <a:pt x="0" y="10033"/>
                </a:lnTo>
                <a:close/>
              </a:path>
            </a:pathLst>
          </a:custGeom>
          <a:solidFill>
            <a:srgbClr val="009CE8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marL="0" indent="0" algn="ctr">
              <a:buNone/>
              <a:defRPr/>
            </a:lvl1pPr>
          </a:lstStyle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52280118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tel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ssholder for bilde 9"/>
          <p:cNvSpPr>
            <a:spLocks noGrp="1"/>
          </p:cNvSpPr>
          <p:nvPr>
            <p:ph type="pic" sz="quarter" idx="11"/>
          </p:nvPr>
        </p:nvSpPr>
        <p:spPr bwMode="auto">
          <a:xfrm>
            <a:off x="-5197" y="0"/>
            <a:ext cx="10399182" cy="6860738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 w 10000"/>
              <a:gd name="connsiteY1" fmla="*/ 0 h 10000"/>
              <a:gd name="connsiteX2" fmla="*/ 10000 w 10000"/>
              <a:gd name="connsiteY2" fmla="*/ 0 h 10000"/>
              <a:gd name="connsiteX3" fmla="*/ 908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20"/>
              <a:gd name="connsiteX1" fmla="*/ 2 w 10000"/>
              <a:gd name="connsiteY1" fmla="*/ 0 h 10020"/>
              <a:gd name="connsiteX2" fmla="*/ 10000 w 10000"/>
              <a:gd name="connsiteY2" fmla="*/ 0 h 10020"/>
              <a:gd name="connsiteX3" fmla="*/ 8116 w 10000"/>
              <a:gd name="connsiteY3" fmla="*/ 10020 h 10020"/>
              <a:gd name="connsiteX4" fmla="*/ 0 w 10000"/>
              <a:gd name="connsiteY4" fmla="*/ 10000 h 10020"/>
              <a:gd name="connsiteX0" fmla="*/ 0 w 10000"/>
              <a:gd name="connsiteY0" fmla="*/ 10000 h 10020"/>
              <a:gd name="connsiteX1" fmla="*/ 2 w 10000"/>
              <a:gd name="connsiteY1" fmla="*/ 0 h 10020"/>
              <a:gd name="connsiteX2" fmla="*/ 10000 w 10000"/>
              <a:gd name="connsiteY2" fmla="*/ 0 h 10020"/>
              <a:gd name="connsiteX3" fmla="*/ 8116 w 10000"/>
              <a:gd name="connsiteY3" fmla="*/ 10020 h 10020"/>
              <a:gd name="connsiteX4" fmla="*/ 0 w 10000"/>
              <a:gd name="connsiteY4" fmla="*/ 10000 h 10020"/>
              <a:gd name="connsiteX0" fmla="*/ 0 w 10000"/>
              <a:gd name="connsiteY0" fmla="*/ 10000 h 10020"/>
              <a:gd name="connsiteX1" fmla="*/ 2 w 10000"/>
              <a:gd name="connsiteY1" fmla="*/ 0 h 10020"/>
              <a:gd name="connsiteX2" fmla="*/ 10000 w 10000"/>
              <a:gd name="connsiteY2" fmla="*/ 0 h 10020"/>
              <a:gd name="connsiteX3" fmla="*/ 8116 w 10000"/>
              <a:gd name="connsiteY3" fmla="*/ 10020 h 10020"/>
              <a:gd name="connsiteX4" fmla="*/ 0 w 10000"/>
              <a:gd name="connsiteY4" fmla="*/ 10000 h 10020"/>
              <a:gd name="connsiteX0" fmla="*/ 0 w 10000"/>
              <a:gd name="connsiteY0" fmla="*/ 10000 h 10020"/>
              <a:gd name="connsiteX1" fmla="*/ 2 w 10000"/>
              <a:gd name="connsiteY1" fmla="*/ 0 h 10020"/>
              <a:gd name="connsiteX2" fmla="*/ 10000 w 10000"/>
              <a:gd name="connsiteY2" fmla="*/ 0 h 10020"/>
              <a:gd name="connsiteX3" fmla="*/ 8116 w 10000"/>
              <a:gd name="connsiteY3" fmla="*/ 10020 h 10020"/>
              <a:gd name="connsiteX4" fmla="*/ 0 w 10000"/>
              <a:gd name="connsiteY4" fmla="*/ 10000 h 10020"/>
              <a:gd name="connsiteX0" fmla="*/ 0 w 10000"/>
              <a:gd name="connsiteY0" fmla="*/ 10000 h 10020"/>
              <a:gd name="connsiteX1" fmla="*/ 2 w 10000"/>
              <a:gd name="connsiteY1" fmla="*/ 0 h 10020"/>
              <a:gd name="connsiteX2" fmla="*/ 10000 w 10000"/>
              <a:gd name="connsiteY2" fmla="*/ 0 h 10020"/>
              <a:gd name="connsiteX3" fmla="*/ 8116 w 10000"/>
              <a:gd name="connsiteY3" fmla="*/ 10020 h 10020"/>
              <a:gd name="connsiteX4" fmla="*/ 0 w 10000"/>
              <a:gd name="connsiteY4" fmla="*/ 10000 h 10020"/>
              <a:gd name="connsiteX0" fmla="*/ 0 w 10000"/>
              <a:gd name="connsiteY0" fmla="*/ 10024 h 10024"/>
              <a:gd name="connsiteX1" fmla="*/ 2 w 10000"/>
              <a:gd name="connsiteY1" fmla="*/ 0 h 10024"/>
              <a:gd name="connsiteX2" fmla="*/ 10000 w 10000"/>
              <a:gd name="connsiteY2" fmla="*/ 0 h 10024"/>
              <a:gd name="connsiteX3" fmla="*/ 8116 w 10000"/>
              <a:gd name="connsiteY3" fmla="*/ 10020 h 10024"/>
              <a:gd name="connsiteX4" fmla="*/ 0 w 10000"/>
              <a:gd name="connsiteY4" fmla="*/ 10024 h 10024"/>
              <a:gd name="connsiteX0" fmla="*/ 5 w 10005"/>
              <a:gd name="connsiteY0" fmla="*/ 10024 h 10024"/>
              <a:gd name="connsiteX1" fmla="*/ 0 w 10005"/>
              <a:gd name="connsiteY1" fmla="*/ 0 h 10024"/>
              <a:gd name="connsiteX2" fmla="*/ 10005 w 10005"/>
              <a:gd name="connsiteY2" fmla="*/ 0 h 10024"/>
              <a:gd name="connsiteX3" fmla="*/ 8121 w 10005"/>
              <a:gd name="connsiteY3" fmla="*/ 10020 h 10024"/>
              <a:gd name="connsiteX4" fmla="*/ 5 w 10005"/>
              <a:gd name="connsiteY4" fmla="*/ 10024 h 10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5" h="10024">
                <a:moveTo>
                  <a:pt x="5" y="10024"/>
                </a:moveTo>
                <a:cubicBezTo>
                  <a:pt x="6" y="6691"/>
                  <a:pt x="-1" y="3333"/>
                  <a:pt x="0" y="0"/>
                </a:cubicBezTo>
                <a:lnTo>
                  <a:pt x="10005" y="0"/>
                </a:lnTo>
                <a:cubicBezTo>
                  <a:pt x="9400" y="3333"/>
                  <a:pt x="8762" y="6707"/>
                  <a:pt x="8121" y="10020"/>
                </a:cubicBezTo>
                <a:lnTo>
                  <a:pt x="5" y="10024"/>
                </a:lnTo>
                <a:close/>
              </a:path>
            </a:pathLst>
          </a:custGeom>
          <a:solidFill>
            <a:srgbClr val="009CE8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>
            <a:lvl1pPr marL="0" indent="0" algn="ctr">
              <a:buNone/>
              <a:defRPr/>
            </a:lvl1pPr>
          </a:lstStyle>
          <a:p>
            <a:endParaRPr lang="nb-NO" dirty="0"/>
          </a:p>
        </p:txBody>
      </p:sp>
      <p:pic>
        <p:nvPicPr>
          <p:cNvPr id="5" name="Bild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18230" y="5597889"/>
            <a:ext cx="1712548" cy="7834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881303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ssholder for bilde 12">
            <a:extLst>
              <a:ext uri="{FF2B5EF4-FFF2-40B4-BE49-F238E27FC236}">
                <a16:creationId xmlns:a16="http://schemas.microsoft.com/office/drawing/2014/main" id="{6DB984A3-CCAF-430F-B635-4ABD2578E0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68794" y="126602"/>
            <a:ext cx="11854403" cy="6380586"/>
          </a:xfrm>
        </p:spPr>
        <p:txBody>
          <a:bodyPr/>
          <a:lstStyle/>
          <a:p>
            <a:r>
              <a:rPr lang="nb-NO"/>
              <a:t>Klikk ikonet for å legge til et bilde</a:t>
            </a:r>
            <a:endParaRPr lang="nb-NO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dk1"/>
                </a:solidFill>
              </a:defRPr>
            </a:lvl1pPr>
          </a:lstStyle>
          <a:p>
            <a:r>
              <a:rPr lang="nb-NO"/>
              <a:t>Dato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dk1"/>
                </a:solidFill>
              </a:defRPr>
            </a:lvl1pPr>
          </a:lstStyle>
          <a:p>
            <a:fld id="{D5DAC896-3290-4F14-BAAE-6BA5F8CCFA8A}" type="slidenum">
              <a:rPr lang="nb-NO" smtClean="0"/>
              <a:pPr/>
              <a:t>‹#›</a:t>
            </a:fld>
            <a:endParaRPr lang="nb-NO" dirty="0"/>
          </a:p>
        </p:txBody>
      </p:sp>
      <p:cxnSp>
        <p:nvCxnSpPr>
          <p:cNvPr id="11" name="Rett linje 10">
            <a:extLst>
              <a:ext uri="{FF2B5EF4-FFF2-40B4-BE49-F238E27FC236}">
                <a16:creationId xmlns:a16="http://schemas.microsoft.com/office/drawing/2014/main" id="{06E9339D-9BBE-4F1C-A7A6-A6BAA9FE87DE}"/>
              </a:ext>
            </a:extLst>
          </p:cNvPr>
          <p:cNvCxnSpPr/>
          <p:nvPr userDrawn="1"/>
        </p:nvCxnSpPr>
        <p:spPr>
          <a:xfrm>
            <a:off x="410176" y="6644201"/>
            <a:ext cx="0" cy="10822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Plassholder for tekst 16">
            <a:extLst>
              <a:ext uri="{FF2B5EF4-FFF2-40B4-BE49-F238E27FC236}">
                <a16:creationId xmlns:a16="http://schemas.microsoft.com/office/drawing/2014/main" id="{2A0EBD23-7235-4D4D-AF96-FCFFD9067A4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0635" y="-10047"/>
            <a:ext cx="2323913" cy="341817"/>
          </a:xfrm>
          <a:solidFill>
            <a:schemeClr val="tx2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266" b="1" cap="all" baseline="0">
                <a:solidFill>
                  <a:schemeClr val="bg1"/>
                </a:solidFill>
              </a:defRPr>
            </a:lvl1pPr>
            <a:lvl2pPr algn="ctr">
              <a:defRPr sz="879">
                <a:solidFill>
                  <a:schemeClr val="bg1"/>
                </a:solidFill>
              </a:defRPr>
            </a:lvl2pPr>
            <a:lvl3pPr algn="ctr">
              <a:defRPr sz="879">
                <a:solidFill>
                  <a:schemeClr val="bg1"/>
                </a:solidFill>
              </a:defRPr>
            </a:lvl3pPr>
            <a:lvl4pPr algn="ctr">
              <a:defRPr sz="879">
                <a:solidFill>
                  <a:schemeClr val="bg1"/>
                </a:solidFill>
              </a:defRPr>
            </a:lvl4pPr>
            <a:lvl5pPr algn="ctr">
              <a:defRPr sz="879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4" name="Plassholder for tekst 15">
            <a:extLst>
              <a:ext uri="{FF2B5EF4-FFF2-40B4-BE49-F238E27FC236}">
                <a16:creationId xmlns:a16="http://schemas.microsoft.com/office/drawing/2014/main" id="{66CC5EB4-DB25-4E7A-9624-66A8E6979E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451870" y="1645786"/>
            <a:ext cx="3924036" cy="3924076"/>
          </a:xfrm>
          <a:prstGeom prst="ellipse">
            <a:avLst/>
          </a:prstGeom>
          <a:solidFill>
            <a:srgbClr val="005F64">
              <a:alpha val="69804"/>
            </a:srgbClr>
          </a:solid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15" name="Plassholder for tekst 15">
            <a:extLst>
              <a:ext uri="{FF2B5EF4-FFF2-40B4-BE49-F238E27FC236}">
                <a16:creationId xmlns:a16="http://schemas.microsoft.com/office/drawing/2014/main" id="{2DFC32B3-7CD5-459F-A76A-D7599D5E5B0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451870" y="1645786"/>
            <a:ext cx="3924036" cy="3924076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pic>
        <p:nvPicPr>
          <p:cNvPr id="18" name="Bilde 17">
            <a:extLst>
              <a:ext uri="{FF2B5EF4-FFF2-40B4-BE49-F238E27FC236}">
                <a16:creationId xmlns:a16="http://schemas.microsoft.com/office/drawing/2014/main" id="{9CF8D0F3-4CA0-48A8-8C03-031CB44E63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291"/>
          <a:stretch/>
        </p:blipFill>
        <p:spPr>
          <a:xfrm>
            <a:off x="9147182" y="6538622"/>
            <a:ext cx="3044818" cy="319378"/>
          </a:xfrm>
          <a:prstGeom prst="rect">
            <a:avLst/>
          </a:prstGeom>
        </p:spPr>
      </p:pic>
      <p:pic>
        <p:nvPicPr>
          <p:cNvPr id="19" name="Bilde 18">
            <a:extLst>
              <a:ext uri="{FF2B5EF4-FFF2-40B4-BE49-F238E27FC236}">
                <a16:creationId xmlns:a16="http://schemas.microsoft.com/office/drawing/2014/main" id="{2BD8ABBD-F4B5-4793-B184-24CFC76857C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3540" y="6617793"/>
            <a:ext cx="2224907" cy="113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96021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#2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ssholder for bilde 12">
            <a:extLst>
              <a:ext uri="{FF2B5EF4-FFF2-40B4-BE49-F238E27FC236}">
                <a16:creationId xmlns:a16="http://schemas.microsoft.com/office/drawing/2014/main" id="{6DB984A3-CCAF-430F-B635-4ABD2578E0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68793" y="126603"/>
            <a:ext cx="11854403" cy="6380586"/>
          </a:xfrm>
        </p:spPr>
        <p:txBody>
          <a:bodyPr/>
          <a:lstStyle/>
          <a:p>
            <a:r>
              <a:rPr lang="nb-NO"/>
              <a:t>Klikk ikonet for å legge til et bilde</a:t>
            </a:r>
            <a:endParaRPr lang="nb-NO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3378381"/>
            <a:ext cx="10363200" cy="584390"/>
          </a:xfrm>
        </p:spPr>
        <p:txBody>
          <a:bodyPr anchor="b">
            <a:spAutoFit/>
          </a:bodyPr>
          <a:lstStyle>
            <a:lvl1pPr algn="ctr">
              <a:defRPr sz="3797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1" y="2823067"/>
            <a:ext cx="10363200" cy="486991"/>
          </a:xfrm>
        </p:spPr>
        <p:txBody>
          <a:bodyPr>
            <a:spAutoFit/>
          </a:bodyPr>
          <a:lstStyle>
            <a:lvl1pPr marL="0" indent="0" algn="ctr">
              <a:buNone/>
              <a:defRPr sz="3164" b="1">
                <a:solidFill>
                  <a:schemeClr val="lt1"/>
                </a:solidFill>
              </a:defRPr>
            </a:lvl1pPr>
            <a:lvl2pPr marL="457166" indent="0" algn="ctr">
              <a:buNone/>
              <a:defRPr sz="2000"/>
            </a:lvl2pPr>
            <a:lvl3pPr marL="914332" indent="0" algn="ctr">
              <a:buNone/>
              <a:defRPr sz="1800"/>
            </a:lvl3pPr>
            <a:lvl4pPr marL="1371497" indent="0" algn="ctr">
              <a:buNone/>
              <a:defRPr sz="1600"/>
            </a:lvl4pPr>
            <a:lvl5pPr marL="1828664" indent="0" algn="ctr">
              <a:buNone/>
              <a:defRPr sz="1600"/>
            </a:lvl5pPr>
            <a:lvl6pPr marL="2285830" indent="0" algn="ctr">
              <a:buNone/>
              <a:defRPr sz="1600"/>
            </a:lvl6pPr>
            <a:lvl7pPr marL="2742995" indent="0" algn="ctr">
              <a:buNone/>
              <a:defRPr sz="1600"/>
            </a:lvl7pPr>
            <a:lvl8pPr marL="3200161" indent="0" algn="ctr">
              <a:buNone/>
              <a:defRPr sz="1600"/>
            </a:lvl8pPr>
            <a:lvl9pPr marL="3657327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dk1"/>
                </a:solidFill>
              </a:defRPr>
            </a:lvl1pPr>
          </a:lstStyle>
          <a:p>
            <a:r>
              <a:rPr lang="nb-NO"/>
              <a:t>Dato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dk1"/>
                </a:solidFill>
              </a:defRPr>
            </a:lvl1pPr>
          </a:lstStyle>
          <a:p>
            <a:fld id="{D5DAC896-3290-4F14-BAAE-6BA5F8CCFA8A}" type="slidenum">
              <a:rPr lang="nb-NO" smtClean="0"/>
              <a:pPr/>
              <a:t>‹#›</a:t>
            </a:fld>
            <a:endParaRPr lang="nb-NO"/>
          </a:p>
        </p:txBody>
      </p:sp>
      <p:cxnSp>
        <p:nvCxnSpPr>
          <p:cNvPr id="11" name="Rett linje 10">
            <a:extLst>
              <a:ext uri="{FF2B5EF4-FFF2-40B4-BE49-F238E27FC236}">
                <a16:creationId xmlns:a16="http://schemas.microsoft.com/office/drawing/2014/main" id="{06E9339D-9BBE-4F1C-A7A6-A6BAA9FE87DE}"/>
              </a:ext>
            </a:extLst>
          </p:cNvPr>
          <p:cNvCxnSpPr/>
          <p:nvPr userDrawn="1"/>
        </p:nvCxnSpPr>
        <p:spPr>
          <a:xfrm>
            <a:off x="410176" y="6644201"/>
            <a:ext cx="0" cy="10822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Plassholder for tekst 16">
            <a:extLst>
              <a:ext uri="{FF2B5EF4-FFF2-40B4-BE49-F238E27FC236}">
                <a16:creationId xmlns:a16="http://schemas.microsoft.com/office/drawing/2014/main" id="{A905BA47-7711-4CE9-86A1-16DC313BD4F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0635" y="-10047"/>
            <a:ext cx="2323913" cy="341817"/>
          </a:xfrm>
          <a:solidFill>
            <a:schemeClr val="tx2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266" b="1" cap="all" baseline="0">
                <a:solidFill>
                  <a:schemeClr val="bg1"/>
                </a:solidFill>
              </a:defRPr>
            </a:lvl1pPr>
            <a:lvl2pPr algn="ctr">
              <a:defRPr sz="879">
                <a:solidFill>
                  <a:schemeClr val="bg1"/>
                </a:solidFill>
              </a:defRPr>
            </a:lvl2pPr>
            <a:lvl3pPr algn="ctr">
              <a:defRPr sz="879">
                <a:solidFill>
                  <a:schemeClr val="bg1"/>
                </a:solidFill>
              </a:defRPr>
            </a:lvl3pPr>
            <a:lvl4pPr algn="ctr">
              <a:defRPr sz="879">
                <a:solidFill>
                  <a:schemeClr val="bg1"/>
                </a:solidFill>
              </a:defRPr>
            </a:lvl4pPr>
            <a:lvl5pPr algn="ctr">
              <a:defRPr sz="879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2" name="Plassholder for tekst 15">
            <a:extLst>
              <a:ext uri="{FF2B5EF4-FFF2-40B4-BE49-F238E27FC236}">
                <a16:creationId xmlns:a16="http://schemas.microsoft.com/office/drawing/2014/main" id="{8702F09A-6807-49CF-BA76-FD84FDF0441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758710" y="344255"/>
            <a:ext cx="1012654" cy="1012665"/>
          </a:xfrm>
          <a:prstGeom prst="ellipse">
            <a:avLst/>
          </a:prstGeom>
          <a:solidFill>
            <a:srgbClr val="005F64">
              <a:alpha val="69804"/>
            </a:srgbClr>
          </a:solid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17" name="Plassholder for tekst 15">
            <a:extLst>
              <a:ext uri="{FF2B5EF4-FFF2-40B4-BE49-F238E27FC236}">
                <a16:creationId xmlns:a16="http://schemas.microsoft.com/office/drawing/2014/main" id="{969A3736-2C3A-486C-992E-5B1AB4968B7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758710" y="344255"/>
            <a:ext cx="1012654" cy="1012665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pic>
        <p:nvPicPr>
          <p:cNvPr id="18" name="Bilde 17">
            <a:extLst>
              <a:ext uri="{FF2B5EF4-FFF2-40B4-BE49-F238E27FC236}">
                <a16:creationId xmlns:a16="http://schemas.microsoft.com/office/drawing/2014/main" id="{54DD9634-B56D-4108-BA72-73A45FADFA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291"/>
          <a:stretch/>
        </p:blipFill>
        <p:spPr>
          <a:xfrm>
            <a:off x="9147182" y="6538622"/>
            <a:ext cx="3044818" cy="319378"/>
          </a:xfrm>
          <a:prstGeom prst="rect">
            <a:avLst/>
          </a:prstGeom>
        </p:spPr>
      </p:pic>
      <p:pic>
        <p:nvPicPr>
          <p:cNvPr id="7" name="Bilde 6">
            <a:extLst>
              <a:ext uri="{FF2B5EF4-FFF2-40B4-BE49-F238E27FC236}">
                <a16:creationId xmlns:a16="http://schemas.microsoft.com/office/drawing/2014/main" id="{B1F798B4-5D31-45B5-AB8F-A66DC92F56F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3540" y="6617793"/>
            <a:ext cx="2224907" cy="113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82037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7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33" name="Objekt 3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0" y="0"/>
            <a:ext cx="12192000" cy="1440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39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39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Mastertitelformat bearbeiten</a:t>
            </a:r>
            <a:endParaRPr kumimoji="0" lang="en-US" sz="1999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grpSp>
        <p:nvGrpSpPr>
          <p:cNvPr id="3" name="Group 33"/>
          <p:cNvGrpSpPr>
            <a:grpSpLocks noChangeAspect="1"/>
          </p:cNvGrpSpPr>
          <p:nvPr userDrawn="1"/>
        </p:nvGrpSpPr>
        <p:grpSpPr bwMode="auto">
          <a:xfrm>
            <a:off x="9550189" y="323850"/>
            <a:ext cx="2157876" cy="914400"/>
            <a:chOff x="6019" y="204"/>
            <a:chExt cx="1360" cy="576"/>
          </a:xfrm>
        </p:grpSpPr>
        <p:sp>
          <p:nvSpPr>
            <p:cNvPr id="6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7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8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9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10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11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12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13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14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15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16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17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18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19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20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21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22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23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24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25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26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27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28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29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30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31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32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</p:grpSp>
    </p:spTree>
    <p:custDataLst>
      <p:custData r:id="rId2"/>
    </p:custDataLst>
    <p:extLst>
      <p:ext uri="{BB962C8B-B14F-4D97-AF65-F5344CB8AC3E}">
        <p14:creationId xmlns:p14="http://schemas.microsoft.com/office/powerpoint/2010/main" val="329940197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#3 (uten bilde)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14401" y="2831173"/>
            <a:ext cx="10363200" cy="584390"/>
          </a:xfrm>
        </p:spPr>
        <p:txBody>
          <a:bodyPr lIns="0" tIns="0" rIns="0" bIns="0" anchor="b">
            <a:spAutoFit/>
          </a:bodyPr>
          <a:lstStyle>
            <a:lvl1pPr algn="ctr">
              <a:defRPr sz="3797" baseline="0">
                <a:solidFill>
                  <a:schemeClr val="tx1"/>
                </a:solidFill>
              </a:defRPr>
            </a:lvl1pPr>
          </a:lstStyle>
          <a:p>
            <a:r>
              <a:rPr lang="nb-NO" dirty="0"/>
              <a:t>Navn</a:t>
            </a:r>
            <a:r>
              <a:rPr lang="en-US" dirty="0"/>
              <a:t> </a:t>
            </a:r>
            <a:r>
              <a:rPr lang="en-US" dirty="0" err="1"/>
              <a:t>foredragsholder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14401" y="3521693"/>
            <a:ext cx="10363200" cy="486991"/>
          </a:xfrm>
        </p:spPr>
        <p:txBody>
          <a:bodyPr>
            <a:spAutoFit/>
          </a:bodyPr>
          <a:lstStyle>
            <a:lvl1pPr marL="0" indent="0" algn="ctr">
              <a:buNone/>
              <a:defRPr sz="3164" b="1">
                <a:solidFill>
                  <a:schemeClr val="tx1"/>
                </a:solidFill>
              </a:defRPr>
            </a:lvl1pPr>
            <a:lvl2pPr marL="457166" indent="0" algn="ctr">
              <a:buNone/>
              <a:defRPr sz="2000"/>
            </a:lvl2pPr>
            <a:lvl3pPr marL="914332" indent="0" algn="ctr">
              <a:buNone/>
              <a:defRPr sz="1800"/>
            </a:lvl3pPr>
            <a:lvl4pPr marL="1371497" indent="0" algn="ctr">
              <a:buNone/>
              <a:defRPr sz="1600"/>
            </a:lvl4pPr>
            <a:lvl5pPr marL="1828664" indent="0" algn="ctr">
              <a:buNone/>
              <a:defRPr sz="1600"/>
            </a:lvl5pPr>
            <a:lvl6pPr marL="2285830" indent="0" algn="ctr">
              <a:buNone/>
              <a:defRPr sz="1600"/>
            </a:lvl6pPr>
            <a:lvl7pPr marL="2742995" indent="0" algn="ctr">
              <a:buNone/>
              <a:defRPr sz="1600"/>
            </a:lvl7pPr>
            <a:lvl8pPr marL="3200161" indent="0" algn="ctr">
              <a:buNone/>
              <a:defRPr sz="1600"/>
            </a:lvl8pPr>
            <a:lvl9pPr marL="3657327" indent="0" algn="ctr">
              <a:buNone/>
              <a:defRPr sz="1600"/>
            </a:lvl9pPr>
          </a:lstStyle>
          <a:p>
            <a:r>
              <a:rPr lang="nb-NO" dirty="0"/>
              <a:t>Titt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3918" y="5368392"/>
            <a:ext cx="10363684" cy="400431"/>
          </a:xfrm>
        </p:spPr>
        <p:txBody>
          <a:bodyPr vert="horz" wrap="square" lIns="0" tIns="0" rIns="0" bIns="0" rtlCol="0">
            <a:spAutoFit/>
          </a:bodyPr>
          <a:lstStyle>
            <a:lvl1pPr algn="ctr">
              <a:defRPr lang="nb-NO" sz="2602" smtClean="0">
                <a:solidFill>
                  <a:schemeClr val="tx1"/>
                </a:solidFill>
              </a:defRPr>
            </a:lvl1pPr>
          </a:lstStyle>
          <a:p>
            <a:pPr defTabSz="914332">
              <a:spcBef>
                <a:spcPts val="1000"/>
              </a:spcBef>
              <a:buClr>
                <a:schemeClr val="tx2"/>
              </a:buClr>
            </a:pPr>
            <a:r>
              <a:rPr lang="nb-NO"/>
              <a:t>Dato</a:t>
            </a:r>
          </a:p>
        </p:txBody>
      </p:sp>
      <p:sp>
        <p:nvSpPr>
          <p:cNvPr id="16" name="Plassholder for tekst 16">
            <a:extLst>
              <a:ext uri="{FF2B5EF4-FFF2-40B4-BE49-F238E27FC236}">
                <a16:creationId xmlns:a16="http://schemas.microsoft.com/office/drawing/2014/main" id="{A905BA47-7711-4CE9-86A1-16DC313BD4F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0635" y="-10047"/>
            <a:ext cx="2323913" cy="341817"/>
          </a:xfrm>
          <a:solidFill>
            <a:schemeClr val="tx2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266" b="1" cap="all" baseline="0">
                <a:solidFill>
                  <a:schemeClr val="bg1"/>
                </a:solidFill>
              </a:defRPr>
            </a:lvl1pPr>
            <a:lvl2pPr algn="ctr">
              <a:defRPr sz="879">
                <a:solidFill>
                  <a:schemeClr val="bg1"/>
                </a:solidFill>
              </a:defRPr>
            </a:lvl2pPr>
            <a:lvl3pPr algn="ctr">
              <a:defRPr sz="879">
                <a:solidFill>
                  <a:schemeClr val="bg1"/>
                </a:solidFill>
              </a:defRPr>
            </a:lvl3pPr>
            <a:lvl4pPr algn="ctr">
              <a:defRPr sz="879">
                <a:solidFill>
                  <a:schemeClr val="bg1"/>
                </a:solidFill>
              </a:defRPr>
            </a:lvl4pPr>
            <a:lvl5pPr algn="ctr">
              <a:defRPr sz="879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7" hasCustomPrompt="1"/>
          </p:nvPr>
        </p:nvSpPr>
        <p:spPr>
          <a:xfrm>
            <a:off x="913917" y="4861854"/>
            <a:ext cx="10364168" cy="400415"/>
          </a:xfrm>
        </p:spPr>
        <p:txBody>
          <a:bodyPr>
            <a:sp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nb-NO" dirty="0"/>
              <a:t>Arrangement og sted</a:t>
            </a:r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77AE7204-EE82-4068-81B3-CC990B126963}"/>
              </a:ext>
            </a:extLst>
          </p:cNvPr>
          <p:cNvSpPr/>
          <p:nvPr userDrawn="1"/>
        </p:nvSpPr>
        <p:spPr>
          <a:xfrm>
            <a:off x="10758710" y="344255"/>
            <a:ext cx="1012654" cy="1012665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266"/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B3183C7A-A577-4026-A3D2-14F5C7493A9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8710" y="344255"/>
            <a:ext cx="1012654" cy="1012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900318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Dato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DAC896-3290-4F14-BAAE-6BA5F8CCFA8A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77928EF2-103F-4C47-A62A-EA181BEF62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50035" y="1571425"/>
            <a:ext cx="8945950" cy="772107"/>
          </a:xfrm>
        </p:spPr>
        <p:txBody>
          <a:bodyPr>
            <a:noAutofit/>
          </a:bodyPr>
          <a:lstStyle>
            <a:lvl1pPr marL="0" indent="0">
              <a:buNone/>
              <a:defRPr sz="2602" b="1"/>
            </a:lvl1pPr>
          </a:lstStyle>
          <a:p>
            <a:pPr lvl="0"/>
            <a:r>
              <a:rPr lang="nb-NO" dirty="0"/>
              <a:t>Ingress</a:t>
            </a:r>
          </a:p>
        </p:txBody>
      </p:sp>
    </p:spTree>
    <p:extLst>
      <p:ext uri="{BB962C8B-B14F-4D97-AF65-F5344CB8AC3E}">
        <p14:creationId xmlns:p14="http://schemas.microsoft.com/office/powerpoint/2010/main" val="263908373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(uten ingre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50335" y="1571425"/>
            <a:ext cx="8945950" cy="4605541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Dato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DAC896-3290-4F14-BAAE-6BA5F8CCFA8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7830177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lloms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>
            <a:extLst>
              <a:ext uri="{FF2B5EF4-FFF2-40B4-BE49-F238E27FC236}">
                <a16:creationId xmlns:a16="http://schemas.microsoft.com/office/drawing/2014/main" id="{BE8CFCFC-AD0C-4D0E-89F0-6E49B06BA629}"/>
              </a:ext>
            </a:extLst>
          </p:cNvPr>
          <p:cNvSpPr/>
          <p:nvPr userDrawn="1"/>
        </p:nvSpPr>
        <p:spPr>
          <a:xfrm>
            <a:off x="168793" y="126603"/>
            <a:ext cx="11854403" cy="63805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266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dk1"/>
                </a:solidFill>
              </a:defRPr>
            </a:lvl1pPr>
          </a:lstStyle>
          <a:p>
            <a:r>
              <a:rPr lang="nb-NO"/>
              <a:t>Dat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dk1"/>
                </a:solidFill>
              </a:defRPr>
            </a:lvl1pPr>
          </a:lstStyle>
          <a:p>
            <a:fld id="{D5DAC896-3290-4F14-BAAE-6BA5F8CCFA8A}" type="slidenum">
              <a:rPr lang="nb-NO" smtClean="0"/>
              <a:pPr/>
              <a:t>‹#›</a:t>
            </a:fld>
            <a:endParaRPr lang="nb-NO"/>
          </a:p>
        </p:txBody>
      </p:sp>
      <p:cxnSp>
        <p:nvCxnSpPr>
          <p:cNvPr id="8" name="Rett linje 7">
            <a:extLst>
              <a:ext uri="{FF2B5EF4-FFF2-40B4-BE49-F238E27FC236}">
                <a16:creationId xmlns:a16="http://schemas.microsoft.com/office/drawing/2014/main" id="{4CB0DF7C-63EC-413A-A5D3-B0D3FEEC84D7}"/>
              </a:ext>
            </a:extLst>
          </p:cNvPr>
          <p:cNvCxnSpPr/>
          <p:nvPr userDrawn="1"/>
        </p:nvCxnSpPr>
        <p:spPr>
          <a:xfrm>
            <a:off x="410176" y="6644201"/>
            <a:ext cx="0" cy="10822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Bilde 9">
            <a:extLst>
              <a:ext uri="{FF2B5EF4-FFF2-40B4-BE49-F238E27FC236}">
                <a16:creationId xmlns:a16="http://schemas.microsoft.com/office/drawing/2014/main" id="{A4605B23-F521-435D-A1C3-86C869A893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2036" y="2521237"/>
            <a:ext cx="2807928" cy="1815526"/>
          </a:xfrm>
          <a:prstGeom prst="rect">
            <a:avLst/>
          </a:prstGeom>
        </p:spPr>
      </p:pic>
      <p:pic>
        <p:nvPicPr>
          <p:cNvPr id="11" name="Bilde 10">
            <a:extLst>
              <a:ext uri="{FF2B5EF4-FFF2-40B4-BE49-F238E27FC236}">
                <a16:creationId xmlns:a16="http://schemas.microsoft.com/office/drawing/2014/main" id="{924479DA-9E77-482F-B749-51FABD45D5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291"/>
          <a:stretch/>
        </p:blipFill>
        <p:spPr>
          <a:xfrm>
            <a:off x="9147182" y="6538622"/>
            <a:ext cx="3044818" cy="319378"/>
          </a:xfrm>
          <a:prstGeom prst="rect">
            <a:avLst/>
          </a:prstGeom>
        </p:spPr>
      </p:pic>
      <p:pic>
        <p:nvPicPr>
          <p:cNvPr id="12" name="Bilde 11">
            <a:extLst>
              <a:ext uri="{FF2B5EF4-FFF2-40B4-BE49-F238E27FC236}">
                <a16:creationId xmlns:a16="http://schemas.microsoft.com/office/drawing/2014/main" id="{39CE7CF4-4E1E-4E39-92C9-DBCBD10CA31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3540" y="6617793"/>
            <a:ext cx="2224907" cy="113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722282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Deloverskrift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7DAC0AFD-A0A0-4165-A09D-E8CA745C8F63}"/>
              </a:ext>
            </a:extLst>
          </p:cNvPr>
          <p:cNvSpPr/>
          <p:nvPr userDrawn="1"/>
        </p:nvSpPr>
        <p:spPr>
          <a:xfrm>
            <a:off x="168793" y="126603"/>
            <a:ext cx="11854403" cy="63805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266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2" y="2860719"/>
            <a:ext cx="10515600" cy="584390"/>
          </a:xfrm>
        </p:spPr>
        <p:txBody>
          <a:bodyPr anchor="b">
            <a:spAutoFit/>
          </a:bodyPr>
          <a:lstStyle>
            <a:lvl1pPr algn="ctr">
              <a:defRPr sz="3797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2" y="3455152"/>
            <a:ext cx="10515600" cy="584390"/>
          </a:xfrm>
        </p:spPr>
        <p:txBody>
          <a:bodyPr>
            <a:spAutoFit/>
          </a:bodyPr>
          <a:lstStyle>
            <a:lvl1pPr marL="0" indent="0" algn="ctr">
              <a:buNone/>
              <a:defRPr sz="3797">
                <a:solidFill>
                  <a:schemeClr val="lt1"/>
                </a:solidFill>
              </a:defRPr>
            </a:lvl1pPr>
            <a:lvl2pPr marL="45716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3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9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6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9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6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dk1"/>
                </a:solidFill>
              </a:defRPr>
            </a:lvl1pPr>
          </a:lstStyle>
          <a:p>
            <a:r>
              <a:rPr lang="nb-NO"/>
              <a:t>Dato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dk1"/>
                </a:solidFill>
              </a:defRPr>
            </a:lvl1pPr>
          </a:lstStyle>
          <a:p>
            <a:fld id="{D5DAC896-3290-4F14-BAAE-6BA5F8CCFA8A}" type="slidenum">
              <a:rPr lang="nb-NO" smtClean="0"/>
              <a:pPr/>
              <a:t>‹#›</a:t>
            </a:fld>
            <a:endParaRPr lang="nb-NO"/>
          </a:p>
        </p:txBody>
      </p:sp>
      <p:cxnSp>
        <p:nvCxnSpPr>
          <p:cNvPr id="12" name="Rett linje 11">
            <a:extLst>
              <a:ext uri="{FF2B5EF4-FFF2-40B4-BE49-F238E27FC236}">
                <a16:creationId xmlns:a16="http://schemas.microsoft.com/office/drawing/2014/main" id="{D3B42DDA-8EFD-4B16-8A49-1565A3F39BC2}"/>
              </a:ext>
            </a:extLst>
          </p:cNvPr>
          <p:cNvCxnSpPr/>
          <p:nvPr userDrawn="1"/>
        </p:nvCxnSpPr>
        <p:spPr>
          <a:xfrm>
            <a:off x="410176" y="6644201"/>
            <a:ext cx="0" cy="10822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Bilde 8">
            <a:extLst>
              <a:ext uri="{FF2B5EF4-FFF2-40B4-BE49-F238E27FC236}">
                <a16:creationId xmlns:a16="http://schemas.microsoft.com/office/drawing/2014/main" id="{1D65297D-FE51-4C1A-8FF0-8D710695D7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291"/>
          <a:stretch/>
        </p:blipFill>
        <p:spPr>
          <a:xfrm>
            <a:off x="9147182" y="6538622"/>
            <a:ext cx="3044818" cy="319378"/>
          </a:xfrm>
          <a:prstGeom prst="rect">
            <a:avLst/>
          </a:prstGeom>
        </p:spPr>
      </p:pic>
      <p:pic>
        <p:nvPicPr>
          <p:cNvPr id="10" name="Bilde 9">
            <a:extLst>
              <a:ext uri="{FF2B5EF4-FFF2-40B4-BE49-F238E27FC236}">
                <a16:creationId xmlns:a16="http://schemas.microsoft.com/office/drawing/2014/main" id="{98BBE067-CB41-4B13-BB45-85EAB4D9591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3540" y="6617793"/>
            <a:ext cx="2224907" cy="113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413802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,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6">
            <a:extLst>
              <a:ext uri="{FF2B5EF4-FFF2-40B4-BE49-F238E27FC236}">
                <a16:creationId xmlns:a16="http://schemas.microsoft.com/office/drawing/2014/main" id="{2263A8B9-16D7-422B-AA44-1245FB19D1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68792" y="126601"/>
            <a:ext cx="11855928" cy="2658569"/>
          </a:xfrm>
        </p:spPr>
        <p:txBody>
          <a:bodyPr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C2E28AF3-910C-4B39-B2C6-0E6552096922}"/>
              </a:ext>
            </a:extLst>
          </p:cNvPr>
          <p:cNvSpPr/>
          <p:nvPr userDrawn="1"/>
        </p:nvSpPr>
        <p:spPr>
          <a:xfrm>
            <a:off x="1" y="6517314"/>
            <a:ext cx="12192000" cy="34068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266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50334" y="3211864"/>
            <a:ext cx="8945949" cy="584390"/>
          </a:xfrm>
        </p:spPr>
        <p:txBody>
          <a:bodyPr>
            <a:spAutoFit/>
          </a:bodyPr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50335" y="4022587"/>
            <a:ext cx="8945950" cy="2154377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Dato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DAC896-3290-4F14-BAAE-6BA5F8CCFA8A}" type="slidenum">
              <a:rPr lang="nb-NO" smtClean="0"/>
              <a:t>‹#›</a:t>
            </a:fld>
            <a:endParaRPr lang="nb-NO"/>
          </a:p>
        </p:txBody>
      </p:sp>
      <p:cxnSp>
        <p:nvCxnSpPr>
          <p:cNvPr id="18" name="Rett linje 17">
            <a:extLst>
              <a:ext uri="{FF2B5EF4-FFF2-40B4-BE49-F238E27FC236}">
                <a16:creationId xmlns:a16="http://schemas.microsoft.com/office/drawing/2014/main" id="{A0B9A65C-120D-44A5-B4E1-898D63953076}"/>
              </a:ext>
            </a:extLst>
          </p:cNvPr>
          <p:cNvCxnSpPr/>
          <p:nvPr userDrawn="1"/>
        </p:nvCxnSpPr>
        <p:spPr>
          <a:xfrm>
            <a:off x="410176" y="6644201"/>
            <a:ext cx="0" cy="108220"/>
          </a:xfrm>
          <a:prstGeom prst="line">
            <a:avLst/>
          </a:prstGeom>
          <a:ln w="12700">
            <a:solidFill>
              <a:schemeClr val="l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lassholder for tekst 15">
            <a:extLst>
              <a:ext uri="{FF2B5EF4-FFF2-40B4-BE49-F238E27FC236}">
                <a16:creationId xmlns:a16="http://schemas.microsoft.com/office/drawing/2014/main" id="{704CC97B-3881-47E4-A14F-D65AB42ED3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758710" y="344255"/>
            <a:ext cx="1012654" cy="1012665"/>
          </a:xfrm>
          <a:prstGeom prst="ellipse">
            <a:avLst/>
          </a:prstGeom>
          <a:solidFill>
            <a:srgbClr val="005F64">
              <a:alpha val="69804"/>
            </a:srgbClr>
          </a:solid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13" name="Plassholder for tekst 15">
            <a:extLst>
              <a:ext uri="{FF2B5EF4-FFF2-40B4-BE49-F238E27FC236}">
                <a16:creationId xmlns:a16="http://schemas.microsoft.com/office/drawing/2014/main" id="{01F19E00-B936-4049-8A25-1690992439D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758710" y="344255"/>
            <a:ext cx="1012654" cy="1012665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pic>
        <p:nvPicPr>
          <p:cNvPr id="14" name="Bilde 13">
            <a:extLst>
              <a:ext uri="{FF2B5EF4-FFF2-40B4-BE49-F238E27FC236}">
                <a16:creationId xmlns:a16="http://schemas.microsoft.com/office/drawing/2014/main" id="{AE5218B0-0F5E-4AE0-97FB-2D3D916CA09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9819" y="6592209"/>
            <a:ext cx="2692181" cy="265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025956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ingress, bilde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Dato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DAC896-3290-4F14-BAAE-6BA5F8CCFA8A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77928EF2-103F-4C47-A62A-EA181BEF62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50035" y="1571425"/>
            <a:ext cx="8945950" cy="772107"/>
          </a:xfrm>
        </p:spPr>
        <p:txBody>
          <a:bodyPr>
            <a:noAutofit/>
          </a:bodyPr>
          <a:lstStyle>
            <a:lvl1pPr marL="0" indent="0">
              <a:buNone/>
              <a:defRPr sz="2602" b="1"/>
            </a:lvl1pPr>
          </a:lstStyle>
          <a:p>
            <a:pPr lvl="0"/>
            <a:r>
              <a:rPr lang="nb-NO" dirty="0"/>
              <a:t>Ingress</a:t>
            </a:r>
          </a:p>
        </p:txBody>
      </p:sp>
      <p:sp>
        <p:nvSpPr>
          <p:cNvPr id="10" name="Plassholder for bilde 9">
            <a:extLst>
              <a:ext uri="{FF2B5EF4-FFF2-40B4-BE49-F238E27FC236}">
                <a16:creationId xmlns:a16="http://schemas.microsoft.com/office/drawing/2014/main" id="{A91273AD-E16D-4FA6-A765-406B2671A9F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350036" y="2466147"/>
            <a:ext cx="4321365" cy="2534213"/>
          </a:xfrm>
        </p:spPr>
        <p:txBody>
          <a:bodyPr/>
          <a:lstStyle/>
          <a:p>
            <a:r>
              <a:rPr lang="nb-NO"/>
              <a:t>Klikk ikonet for å legge til et bilde</a:t>
            </a:r>
            <a:endParaRPr lang="nb-NO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CCDAA76C-CA59-4E53-B118-1BE8AF9C7537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974918" y="2464998"/>
            <a:ext cx="4321067" cy="371196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143516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Dato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DAC896-3290-4F14-BAAE-6BA5F8CCFA8A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0F077D80-2445-467A-B6EA-3B1C5BD4929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50035" y="1571425"/>
            <a:ext cx="8945950" cy="772107"/>
          </a:xfrm>
        </p:spPr>
        <p:txBody>
          <a:bodyPr>
            <a:noAutofit/>
          </a:bodyPr>
          <a:lstStyle>
            <a:lvl1pPr marL="0" indent="0">
              <a:buNone/>
              <a:defRPr sz="2602" b="1"/>
            </a:lvl1pPr>
          </a:lstStyle>
          <a:p>
            <a:pPr lvl="0"/>
            <a:r>
              <a:rPr lang="nb-NO" dirty="0"/>
              <a:t>Ingres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41F201A-41B8-4D42-8F28-C24E0164FE9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50335" y="2464998"/>
            <a:ext cx="4321067" cy="371196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9BF4EEF-79FD-4477-B72B-8F0E2E31EE6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974918" y="2464998"/>
            <a:ext cx="4321067" cy="371196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804787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 (uten ingre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Dato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DAC896-3290-4F14-BAAE-6BA5F8CCFA8A}" type="slidenum">
              <a:rPr lang="nb-NO" smtClean="0"/>
              <a:t>‹#›</a:t>
            </a:fld>
            <a:endParaRPr lang="nb-NO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41F201A-41B8-4D42-8F28-C24E0164FE9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50335" y="1571425"/>
            <a:ext cx="4321067" cy="4605541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9BF4EEF-79FD-4477-B72B-8F0E2E31EE6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974918" y="1571425"/>
            <a:ext cx="4321067" cy="4605541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780158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7DAC0AFD-A0A0-4165-A09D-E8CA745C8F63}"/>
              </a:ext>
            </a:extLst>
          </p:cNvPr>
          <p:cNvSpPr/>
          <p:nvPr userDrawn="1"/>
        </p:nvSpPr>
        <p:spPr>
          <a:xfrm>
            <a:off x="168793" y="126603"/>
            <a:ext cx="11854403" cy="63805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266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1" y="2802059"/>
            <a:ext cx="10515600" cy="584390"/>
          </a:xfr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3797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ABD2E6C4-5BFA-470B-8E57-3F6125120A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291"/>
          <a:stretch/>
        </p:blipFill>
        <p:spPr>
          <a:xfrm>
            <a:off x="9147182" y="6538622"/>
            <a:ext cx="3044818" cy="319378"/>
          </a:xfrm>
          <a:prstGeom prst="rect">
            <a:avLst/>
          </a:prstGeom>
        </p:spPr>
      </p:pic>
      <p:pic>
        <p:nvPicPr>
          <p:cNvPr id="9" name="Bilde 8">
            <a:extLst>
              <a:ext uri="{FF2B5EF4-FFF2-40B4-BE49-F238E27FC236}">
                <a16:creationId xmlns:a16="http://schemas.microsoft.com/office/drawing/2014/main" id="{D3E2C70F-6117-45CF-A704-6BB5CE9F61D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3540" y="6617793"/>
            <a:ext cx="2224907" cy="113604"/>
          </a:xfrm>
          <a:prstGeom prst="rect">
            <a:avLst/>
          </a:prstGeom>
        </p:spPr>
      </p:pic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E13A9F36-52E5-4BE4-B559-B6167736559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8065" y="6633484"/>
            <a:ext cx="2743200" cy="108220"/>
          </a:xfrm>
        </p:spPr>
        <p:txBody>
          <a:bodyPr/>
          <a:lstStyle>
            <a:lvl1pPr>
              <a:defRPr>
                <a:solidFill>
                  <a:schemeClr val="dk1"/>
                </a:solidFill>
              </a:defRPr>
            </a:lvl1pPr>
          </a:lstStyle>
          <a:p>
            <a:r>
              <a:rPr lang="nb-NO"/>
              <a:t>Dato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D5CDA8D6-555F-401B-8FA2-920084093F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30932" y="6633484"/>
            <a:ext cx="188053" cy="108220"/>
          </a:xfrm>
        </p:spPr>
        <p:txBody>
          <a:bodyPr/>
          <a:lstStyle>
            <a:lvl1pPr>
              <a:defRPr>
                <a:solidFill>
                  <a:schemeClr val="dk1"/>
                </a:solidFill>
              </a:defRPr>
            </a:lvl1pPr>
          </a:lstStyle>
          <a:p>
            <a:fld id="{D5DAC896-3290-4F14-BAAE-6BA5F8CCFA8A}" type="slidenum">
              <a:rPr lang="nb-NO" smtClean="0"/>
              <a:pPr/>
              <a:t>‹#›</a:t>
            </a:fld>
            <a:endParaRPr lang="nb-NO"/>
          </a:p>
        </p:txBody>
      </p:sp>
      <p:cxnSp>
        <p:nvCxnSpPr>
          <p:cNvPr id="12" name="Rett linje 11">
            <a:extLst>
              <a:ext uri="{FF2B5EF4-FFF2-40B4-BE49-F238E27FC236}">
                <a16:creationId xmlns:a16="http://schemas.microsoft.com/office/drawing/2014/main" id="{BA35BC83-5F26-4A2F-9756-70611207302E}"/>
              </a:ext>
            </a:extLst>
          </p:cNvPr>
          <p:cNvCxnSpPr/>
          <p:nvPr userDrawn="1"/>
        </p:nvCxnSpPr>
        <p:spPr>
          <a:xfrm>
            <a:off x="410176" y="6644201"/>
            <a:ext cx="0" cy="10822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05851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area Dynamic Petro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ieren 6"/>
          <p:cNvGrpSpPr/>
          <p:nvPr userDrawn="1"/>
        </p:nvGrpSpPr>
        <p:grpSpPr>
          <a:xfrm>
            <a:off x="0" y="1"/>
            <a:ext cx="12192000" cy="6861907"/>
            <a:chOff x="0" y="0"/>
            <a:chExt cx="12198350" cy="6861907"/>
          </a:xfrm>
        </p:grpSpPr>
        <p:sp>
          <p:nvSpPr>
            <p:cNvPr id="4" name="Rechteck 3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 eaLnBrk="1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799" dirty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" name="Rechteck 5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gradFill>
              <a:gsLst>
                <a:gs pos="83000">
                  <a:srgbClr val="0099B0"/>
                </a:gs>
                <a:gs pos="50000">
                  <a:srgbClr val="009999"/>
                </a:gs>
                <a:gs pos="0">
                  <a:srgbClr val="50BEBE"/>
                </a:gs>
                <a:gs pos="100000">
                  <a:srgbClr val="0099CB"/>
                </a:gs>
              </a:gsLst>
              <a:lin ang="0" scaled="0"/>
            </a:gra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 eaLnBrk="1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799" dirty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65081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Dato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DAC896-3290-4F14-BAAE-6BA5F8CCFA8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5715362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Dat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DAC896-3290-4F14-BAAE-6BA5F8CCFA8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1342920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Dat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DAC896-3290-4F14-BAAE-6BA5F8CCFA8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6997590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ssholder for bilde 12">
            <a:extLst>
              <a:ext uri="{FF2B5EF4-FFF2-40B4-BE49-F238E27FC236}">
                <a16:creationId xmlns:a16="http://schemas.microsoft.com/office/drawing/2014/main" id="{6DB984A3-CCAF-430F-B635-4ABD2578E0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68794" y="126602"/>
            <a:ext cx="11854403" cy="6380586"/>
          </a:xfrm>
        </p:spPr>
        <p:txBody>
          <a:bodyPr/>
          <a:lstStyle/>
          <a:p>
            <a:r>
              <a:rPr lang="nb-NO"/>
              <a:t>Klikk ikonet for å legge til et bilde</a:t>
            </a:r>
            <a:endParaRPr lang="nb-NO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dk1"/>
                </a:solidFill>
              </a:defRPr>
            </a:lvl1pPr>
          </a:lstStyle>
          <a:p>
            <a:r>
              <a:rPr lang="nb-NO"/>
              <a:t>Dato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dk1"/>
                </a:solidFill>
              </a:defRPr>
            </a:lvl1pPr>
          </a:lstStyle>
          <a:p>
            <a:fld id="{D5DAC896-3290-4F14-BAAE-6BA5F8CCFA8A}" type="slidenum">
              <a:rPr lang="nb-NO" smtClean="0"/>
              <a:pPr/>
              <a:t>‹#›</a:t>
            </a:fld>
            <a:endParaRPr lang="nb-NO" dirty="0"/>
          </a:p>
        </p:txBody>
      </p:sp>
      <p:cxnSp>
        <p:nvCxnSpPr>
          <p:cNvPr id="11" name="Rett linje 10">
            <a:extLst>
              <a:ext uri="{FF2B5EF4-FFF2-40B4-BE49-F238E27FC236}">
                <a16:creationId xmlns:a16="http://schemas.microsoft.com/office/drawing/2014/main" id="{06E9339D-9BBE-4F1C-A7A6-A6BAA9FE87DE}"/>
              </a:ext>
            </a:extLst>
          </p:cNvPr>
          <p:cNvCxnSpPr/>
          <p:nvPr userDrawn="1"/>
        </p:nvCxnSpPr>
        <p:spPr>
          <a:xfrm>
            <a:off x="410176" y="6644201"/>
            <a:ext cx="0" cy="10822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Plassholder for tekst 16">
            <a:extLst>
              <a:ext uri="{FF2B5EF4-FFF2-40B4-BE49-F238E27FC236}">
                <a16:creationId xmlns:a16="http://schemas.microsoft.com/office/drawing/2014/main" id="{2A0EBD23-7235-4D4D-AF96-FCFFD9067A4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0635" y="-10047"/>
            <a:ext cx="2323913" cy="341817"/>
          </a:xfrm>
          <a:solidFill>
            <a:schemeClr val="tx2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266" b="1" cap="all" baseline="0">
                <a:solidFill>
                  <a:schemeClr val="bg1"/>
                </a:solidFill>
              </a:defRPr>
            </a:lvl1pPr>
            <a:lvl2pPr algn="ctr">
              <a:defRPr sz="879">
                <a:solidFill>
                  <a:schemeClr val="bg1"/>
                </a:solidFill>
              </a:defRPr>
            </a:lvl2pPr>
            <a:lvl3pPr algn="ctr">
              <a:defRPr sz="879">
                <a:solidFill>
                  <a:schemeClr val="bg1"/>
                </a:solidFill>
              </a:defRPr>
            </a:lvl3pPr>
            <a:lvl4pPr algn="ctr">
              <a:defRPr sz="879">
                <a:solidFill>
                  <a:schemeClr val="bg1"/>
                </a:solidFill>
              </a:defRPr>
            </a:lvl4pPr>
            <a:lvl5pPr algn="ctr">
              <a:defRPr sz="879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4" name="Plassholder for tekst 15">
            <a:extLst>
              <a:ext uri="{FF2B5EF4-FFF2-40B4-BE49-F238E27FC236}">
                <a16:creationId xmlns:a16="http://schemas.microsoft.com/office/drawing/2014/main" id="{66CC5EB4-DB25-4E7A-9624-66A8E6979E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451870" y="1645786"/>
            <a:ext cx="3924036" cy="3924076"/>
          </a:xfrm>
          <a:prstGeom prst="ellipse">
            <a:avLst/>
          </a:prstGeom>
          <a:solidFill>
            <a:srgbClr val="005F64">
              <a:alpha val="69804"/>
            </a:srgbClr>
          </a:solid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15" name="Plassholder for tekst 15">
            <a:extLst>
              <a:ext uri="{FF2B5EF4-FFF2-40B4-BE49-F238E27FC236}">
                <a16:creationId xmlns:a16="http://schemas.microsoft.com/office/drawing/2014/main" id="{2DFC32B3-7CD5-459F-A76A-D7599D5E5B0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451870" y="1645786"/>
            <a:ext cx="3924036" cy="3924076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pic>
        <p:nvPicPr>
          <p:cNvPr id="18" name="Bilde 17">
            <a:extLst>
              <a:ext uri="{FF2B5EF4-FFF2-40B4-BE49-F238E27FC236}">
                <a16:creationId xmlns:a16="http://schemas.microsoft.com/office/drawing/2014/main" id="{9CF8D0F3-4CA0-48A8-8C03-031CB44E63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291"/>
          <a:stretch/>
        </p:blipFill>
        <p:spPr>
          <a:xfrm>
            <a:off x="9147182" y="6538622"/>
            <a:ext cx="3044818" cy="319378"/>
          </a:xfrm>
          <a:prstGeom prst="rect">
            <a:avLst/>
          </a:prstGeom>
        </p:spPr>
      </p:pic>
      <p:pic>
        <p:nvPicPr>
          <p:cNvPr id="19" name="Bilde 18">
            <a:extLst>
              <a:ext uri="{FF2B5EF4-FFF2-40B4-BE49-F238E27FC236}">
                <a16:creationId xmlns:a16="http://schemas.microsoft.com/office/drawing/2014/main" id="{2BD8ABBD-F4B5-4793-B184-24CFC76857C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3540" y="6617793"/>
            <a:ext cx="2224907" cy="113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495200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#2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ssholder for bilde 12">
            <a:extLst>
              <a:ext uri="{FF2B5EF4-FFF2-40B4-BE49-F238E27FC236}">
                <a16:creationId xmlns:a16="http://schemas.microsoft.com/office/drawing/2014/main" id="{6DB984A3-CCAF-430F-B635-4ABD2578E0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68793" y="126603"/>
            <a:ext cx="11854403" cy="6380586"/>
          </a:xfrm>
        </p:spPr>
        <p:txBody>
          <a:bodyPr/>
          <a:lstStyle/>
          <a:p>
            <a:r>
              <a:rPr lang="nb-NO"/>
              <a:t>Klikk ikonet for å legge til et bilde</a:t>
            </a:r>
            <a:endParaRPr lang="nb-NO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3378381"/>
            <a:ext cx="10363200" cy="584390"/>
          </a:xfrm>
        </p:spPr>
        <p:txBody>
          <a:bodyPr anchor="b">
            <a:spAutoFit/>
          </a:bodyPr>
          <a:lstStyle>
            <a:lvl1pPr algn="ctr">
              <a:defRPr sz="3797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1" y="2823067"/>
            <a:ext cx="10363200" cy="486991"/>
          </a:xfrm>
        </p:spPr>
        <p:txBody>
          <a:bodyPr>
            <a:spAutoFit/>
          </a:bodyPr>
          <a:lstStyle>
            <a:lvl1pPr marL="0" indent="0" algn="ctr">
              <a:buNone/>
              <a:defRPr sz="3164" b="1">
                <a:solidFill>
                  <a:schemeClr val="lt1"/>
                </a:solidFill>
              </a:defRPr>
            </a:lvl1pPr>
            <a:lvl2pPr marL="457166" indent="0" algn="ctr">
              <a:buNone/>
              <a:defRPr sz="2000"/>
            </a:lvl2pPr>
            <a:lvl3pPr marL="914332" indent="0" algn="ctr">
              <a:buNone/>
              <a:defRPr sz="1800"/>
            </a:lvl3pPr>
            <a:lvl4pPr marL="1371497" indent="0" algn="ctr">
              <a:buNone/>
              <a:defRPr sz="1600"/>
            </a:lvl4pPr>
            <a:lvl5pPr marL="1828664" indent="0" algn="ctr">
              <a:buNone/>
              <a:defRPr sz="1600"/>
            </a:lvl5pPr>
            <a:lvl6pPr marL="2285830" indent="0" algn="ctr">
              <a:buNone/>
              <a:defRPr sz="1600"/>
            </a:lvl6pPr>
            <a:lvl7pPr marL="2742995" indent="0" algn="ctr">
              <a:buNone/>
              <a:defRPr sz="1600"/>
            </a:lvl7pPr>
            <a:lvl8pPr marL="3200161" indent="0" algn="ctr">
              <a:buNone/>
              <a:defRPr sz="1600"/>
            </a:lvl8pPr>
            <a:lvl9pPr marL="3657327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dk1"/>
                </a:solidFill>
              </a:defRPr>
            </a:lvl1pPr>
          </a:lstStyle>
          <a:p>
            <a:r>
              <a:rPr lang="nb-NO"/>
              <a:t>Dato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dk1"/>
                </a:solidFill>
              </a:defRPr>
            </a:lvl1pPr>
          </a:lstStyle>
          <a:p>
            <a:fld id="{D5DAC896-3290-4F14-BAAE-6BA5F8CCFA8A}" type="slidenum">
              <a:rPr lang="nb-NO" smtClean="0"/>
              <a:pPr/>
              <a:t>‹#›</a:t>
            </a:fld>
            <a:endParaRPr lang="nb-NO"/>
          </a:p>
        </p:txBody>
      </p:sp>
      <p:cxnSp>
        <p:nvCxnSpPr>
          <p:cNvPr id="11" name="Rett linje 10">
            <a:extLst>
              <a:ext uri="{FF2B5EF4-FFF2-40B4-BE49-F238E27FC236}">
                <a16:creationId xmlns:a16="http://schemas.microsoft.com/office/drawing/2014/main" id="{06E9339D-9BBE-4F1C-A7A6-A6BAA9FE87DE}"/>
              </a:ext>
            </a:extLst>
          </p:cNvPr>
          <p:cNvCxnSpPr/>
          <p:nvPr userDrawn="1"/>
        </p:nvCxnSpPr>
        <p:spPr>
          <a:xfrm>
            <a:off x="410176" y="6644201"/>
            <a:ext cx="0" cy="10822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Plassholder for tekst 16">
            <a:extLst>
              <a:ext uri="{FF2B5EF4-FFF2-40B4-BE49-F238E27FC236}">
                <a16:creationId xmlns:a16="http://schemas.microsoft.com/office/drawing/2014/main" id="{A905BA47-7711-4CE9-86A1-16DC313BD4F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0635" y="-10047"/>
            <a:ext cx="2323913" cy="341817"/>
          </a:xfrm>
          <a:solidFill>
            <a:schemeClr val="tx2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266" b="1" cap="all" baseline="0">
                <a:solidFill>
                  <a:schemeClr val="bg1"/>
                </a:solidFill>
              </a:defRPr>
            </a:lvl1pPr>
            <a:lvl2pPr algn="ctr">
              <a:defRPr sz="879">
                <a:solidFill>
                  <a:schemeClr val="bg1"/>
                </a:solidFill>
              </a:defRPr>
            </a:lvl2pPr>
            <a:lvl3pPr algn="ctr">
              <a:defRPr sz="879">
                <a:solidFill>
                  <a:schemeClr val="bg1"/>
                </a:solidFill>
              </a:defRPr>
            </a:lvl3pPr>
            <a:lvl4pPr algn="ctr">
              <a:defRPr sz="879">
                <a:solidFill>
                  <a:schemeClr val="bg1"/>
                </a:solidFill>
              </a:defRPr>
            </a:lvl4pPr>
            <a:lvl5pPr algn="ctr">
              <a:defRPr sz="879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2" name="Plassholder for tekst 15">
            <a:extLst>
              <a:ext uri="{FF2B5EF4-FFF2-40B4-BE49-F238E27FC236}">
                <a16:creationId xmlns:a16="http://schemas.microsoft.com/office/drawing/2014/main" id="{8702F09A-6807-49CF-BA76-FD84FDF0441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758710" y="344255"/>
            <a:ext cx="1012654" cy="1012665"/>
          </a:xfrm>
          <a:prstGeom prst="ellipse">
            <a:avLst/>
          </a:prstGeom>
          <a:solidFill>
            <a:srgbClr val="005F64">
              <a:alpha val="69804"/>
            </a:srgbClr>
          </a:solid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17" name="Plassholder for tekst 15">
            <a:extLst>
              <a:ext uri="{FF2B5EF4-FFF2-40B4-BE49-F238E27FC236}">
                <a16:creationId xmlns:a16="http://schemas.microsoft.com/office/drawing/2014/main" id="{969A3736-2C3A-486C-992E-5B1AB4968B7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758710" y="344255"/>
            <a:ext cx="1012654" cy="1012665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pic>
        <p:nvPicPr>
          <p:cNvPr id="18" name="Bilde 17">
            <a:extLst>
              <a:ext uri="{FF2B5EF4-FFF2-40B4-BE49-F238E27FC236}">
                <a16:creationId xmlns:a16="http://schemas.microsoft.com/office/drawing/2014/main" id="{54DD9634-B56D-4108-BA72-73A45FADFA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291"/>
          <a:stretch/>
        </p:blipFill>
        <p:spPr>
          <a:xfrm>
            <a:off x="9147182" y="6538622"/>
            <a:ext cx="3044818" cy="319378"/>
          </a:xfrm>
          <a:prstGeom prst="rect">
            <a:avLst/>
          </a:prstGeom>
        </p:spPr>
      </p:pic>
      <p:pic>
        <p:nvPicPr>
          <p:cNvPr id="7" name="Bilde 6">
            <a:extLst>
              <a:ext uri="{FF2B5EF4-FFF2-40B4-BE49-F238E27FC236}">
                <a16:creationId xmlns:a16="http://schemas.microsoft.com/office/drawing/2014/main" id="{B1F798B4-5D31-45B5-AB8F-A66DC92F56F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3540" y="6617793"/>
            <a:ext cx="2224907" cy="113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534189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#3 (uten bilde)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14401" y="2831173"/>
            <a:ext cx="10363200" cy="584390"/>
          </a:xfrm>
        </p:spPr>
        <p:txBody>
          <a:bodyPr lIns="0" tIns="0" rIns="0" bIns="0" anchor="b">
            <a:spAutoFit/>
          </a:bodyPr>
          <a:lstStyle>
            <a:lvl1pPr algn="ctr">
              <a:defRPr sz="3797" baseline="0">
                <a:solidFill>
                  <a:schemeClr val="tx1"/>
                </a:solidFill>
              </a:defRPr>
            </a:lvl1pPr>
          </a:lstStyle>
          <a:p>
            <a:r>
              <a:rPr lang="nb-NO" dirty="0"/>
              <a:t>Navn</a:t>
            </a:r>
            <a:r>
              <a:rPr lang="en-US" dirty="0"/>
              <a:t> </a:t>
            </a:r>
            <a:r>
              <a:rPr lang="en-US" dirty="0" err="1"/>
              <a:t>foredragsholder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14401" y="3521693"/>
            <a:ext cx="10363200" cy="486991"/>
          </a:xfrm>
        </p:spPr>
        <p:txBody>
          <a:bodyPr>
            <a:spAutoFit/>
          </a:bodyPr>
          <a:lstStyle>
            <a:lvl1pPr marL="0" indent="0" algn="ctr">
              <a:buNone/>
              <a:defRPr sz="3164" b="1">
                <a:solidFill>
                  <a:schemeClr val="tx1"/>
                </a:solidFill>
              </a:defRPr>
            </a:lvl1pPr>
            <a:lvl2pPr marL="457166" indent="0" algn="ctr">
              <a:buNone/>
              <a:defRPr sz="2000"/>
            </a:lvl2pPr>
            <a:lvl3pPr marL="914332" indent="0" algn="ctr">
              <a:buNone/>
              <a:defRPr sz="1800"/>
            </a:lvl3pPr>
            <a:lvl4pPr marL="1371497" indent="0" algn="ctr">
              <a:buNone/>
              <a:defRPr sz="1600"/>
            </a:lvl4pPr>
            <a:lvl5pPr marL="1828664" indent="0" algn="ctr">
              <a:buNone/>
              <a:defRPr sz="1600"/>
            </a:lvl5pPr>
            <a:lvl6pPr marL="2285830" indent="0" algn="ctr">
              <a:buNone/>
              <a:defRPr sz="1600"/>
            </a:lvl6pPr>
            <a:lvl7pPr marL="2742995" indent="0" algn="ctr">
              <a:buNone/>
              <a:defRPr sz="1600"/>
            </a:lvl7pPr>
            <a:lvl8pPr marL="3200161" indent="0" algn="ctr">
              <a:buNone/>
              <a:defRPr sz="1600"/>
            </a:lvl8pPr>
            <a:lvl9pPr marL="3657327" indent="0" algn="ctr">
              <a:buNone/>
              <a:defRPr sz="1600"/>
            </a:lvl9pPr>
          </a:lstStyle>
          <a:p>
            <a:r>
              <a:rPr lang="nb-NO" dirty="0"/>
              <a:t>Titt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3918" y="5368392"/>
            <a:ext cx="10363684" cy="400431"/>
          </a:xfrm>
        </p:spPr>
        <p:txBody>
          <a:bodyPr vert="horz" wrap="square" lIns="0" tIns="0" rIns="0" bIns="0" rtlCol="0">
            <a:spAutoFit/>
          </a:bodyPr>
          <a:lstStyle>
            <a:lvl1pPr algn="ctr">
              <a:defRPr lang="nb-NO" sz="2602" smtClean="0">
                <a:solidFill>
                  <a:schemeClr val="tx1"/>
                </a:solidFill>
              </a:defRPr>
            </a:lvl1pPr>
          </a:lstStyle>
          <a:p>
            <a:pPr defTabSz="914332">
              <a:spcBef>
                <a:spcPts val="1000"/>
              </a:spcBef>
              <a:buClr>
                <a:schemeClr val="tx2"/>
              </a:buClr>
            </a:pPr>
            <a:r>
              <a:rPr lang="nb-NO"/>
              <a:t>Dato</a:t>
            </a:r>
          </a:p>
        </p:txBody>
      </p:sp>
      <p:sp>
        <p:nvSpPr>
          <p:cNvPr id="16" name="Plassholder for tekst 16">
            <a:extLst>
              <a:ext uri="{FF2B5EF4-FFF2-40B4-BE49-F238E27FC236}">
                <a16:creationId xmlns:a16="http://schemas.microsoft.com/office/drawing/2014/main" id="{A905BA47-7711-4CE9-86A1-16DC313BD4F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0635" y="-10047"/>
            <a:ext cx="2323913" cy="341817"/>
          </a:xfrm>
          <a:solidFill>
            <a:schemeClr val="tx2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266" b="1" cap="all" baseline="0">
                <a:solidFill>
                  <a:schemeClr val="bg1"/>
                </a:solidFill>
              </a:defRPr>
            </a:lvl1pPr>
            <a:lvl2pPr algn="ctr">
              <a:defRPr sz="879">
                <a:solidFill>
                  <a:schemeClr val="bg1"/>
                </a:solidFill>
              </a:defRPr>
            </a:lvl2pPr>
            <a:lvl3pPr algn="ctr">
              <a:defRPr sz="879">
                <a:solidFill>
                  <a:schemeClr val="bg1"/>
                </a:solidFill>
              </a:defRPr>
            </a:lvl3pPr>
            <a:lvl4pPr algn="ctr">
              <a:defRPr sz="879">
                <a:solidFill>
                  <a:schemeClr val="bg1"/>
                </a:solidFill>
              </a:defRPr>
            </a:lvl4pPr>
            <a:lvl5pPr algn="ctr">
              <a:defRPr sz="879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7" hasCustomPrompt="1"/>
          </p:nvPr>
        </p:nvSpPr>
        <p:spPr>
          <a:xfrm>
            <a:off x="913917" y="4861854"/>
            <a:ext cx="10364168" cy="400415"/>
          </a:xfrm>
        </p:spPr>
        <p:txBody>
          <a:bodyPr>
            <a:sp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nb-NO" dirty="0"/>
              <a:t>Arrangement og sted</a:t>
            </a:r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77AE7204-EE82-4068-81B3-CC990B126963}"/>
              </a:ext>
            </a:extLst>
          </p:cNvPr>
          <p:cNvSpPr/>
          <p:nvPr userDrawn="1"/>
        </p:nvSpPr>
        <p:spPr>
          <a:xfrm>
            <a:off x="10758710" y="344255"/>
            <a:ext cx="1012654" cy="1012665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266"/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B3183C7A-A577-4026-A3D2-14F5C7493A9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8710" y="344255"/>
            <a:ext cx="1012654" cy="1012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253483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Dato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DAC896-3290-4F14-BAAE-6BA5F8CCFA8A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77928EF2-103F-4C47-A62A-EA181BEF62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50035" y="1571425"/>
            <a:ext cx="8945950" cy="772107"/>
          </a:xfrm>
        </p:spPr>
        <p:txBody>
          <a:bodyPr>
            <a:noAutofit/>
          </a:bodyPr>
          <a:lstStyle>
            <a:lvl1pPr marL="0" indent="0">
              <a:buNone/>
              <a:defRPr sz="2602" b="1"/>
            </a:lvl1pPr>
          </a:lstStyle>
          <a:p>
            <a:pPr lvl="0"/>
            <a:r>
              <a:rPr lang="nb-NO" dirty="0"/>
              <a:t>Ingress</a:t>
            </a:r>
          </a:p>
        </p:txBody>
      </p:sp>
    </p:spTree>
    <p:extLst>
      <p:ext uri="{BB962C8B-B14F-4D97-AF65-F5344CB8AC3E}">
        <p14:creationId xmlns:p14="http://schemas.microsoft.com/office/powerpoint/2010/main" val="70917963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(uten ingre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50335" y="1571425"/>
            <a:ext cx="8945950" cy="4605541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Dato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DAC896-3290-4F14-BAAE-6BA5F8CCFA8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7908124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lloms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>
            <a:extLst>
              <a:ext uri="{FF2B5EF4-FFF2-40B4-BE49-F238E27FC236}">
                <a16:creationId xmlns:a16="http://schemas.microsoft.com/office/drawing/2014/main" id="{BE8CFCFC-AD0C-4D0E-89F0-6E49B06BA629}"/>
              </a:ext>
            </a:extLst>
          </p:cNvPr>
          <p:cNvSpPr/>
          <p:nvPr userDrawn="1"/>
        </p:nvSpPr>
        <p:spPr>
          <a:xfrm>
            <a:off x="168793" y="126603"/>
            <a:ext cx="11854403" cy="63805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266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dk1"/>
                </a:solidFill>
              </a:defRPr>
            </a:lvl1pPr>
          </a:lstStyle>
          <a:p>
            <a:r>
              <a:rPr lang="nb-NO"/>
              <a:t>Dat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dk1"/>
                </a:solidFill>
              </a:defRPr>
            </a:lvl1pPr>
          </a:lstStyle>
          <a:p>
            <a:fld id="{D5DAC896-3290-4F14-BAAE-6BA5F8CCFA8A}" type="slidenum">
              <a:rPr lang="nb-NO" smtClean="0"/>
              <a:pPr/>
              <a:t>‹#›</a:t>
            </a:fld>
            <a:endParaRPr lang="nb-NO"/>
          </a:p>
        </p:txBody>
      </p:sp>
      <p:cxnSp>
        <p:nvCxnSpPr>
          <p:cNvPr id="8" name="Rett linje 7">
            <a:extLst>
              <a:ext uri="{FF2B5EF4-FFF2-40B4-BE49-F238E27FC236}">
                <a16:creationId xmlns:a16="http://schemas.microsoft.com/office/drawing/2014/main" id="{4CB0DF7C-63EC-413A-A5D3-B0D3FEEC84D7}"/>
              </a:ext>
            </a:extLst>
          </p:cNvPr>
          <p:cNvCxnSpPr/>
          <p:nvPr userDrawn="1"/>
        </p:nvCxnSpPr>
        <p:spPr>
          <a:xfrm>
            <a:off x="410176" y="6644201"/>
            <a:ext cx="0" cy="10822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Bilde 9">
            <a:extLst>
              <a:ext uri="{FF2B5EF4-FFF2-40B4-BE49-F238E27FC236}">
                <a16:creationId xmlns:a16="http://schemas.microsoft.com/office/drawing/2014/main" id="{A4605B23-F521-435D-A1C3-86C869A893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2036" y="2521237"/>
            <a:ext cx="2807928" cy="1815526"/>
          </a:xfrm>
          <a:prstGeom prst="rect">
            <a:avLst/>
          </a:prstGeom>
        </p:spPr>
      </p:pic>
      <p:pic>
        <p:nvPicPr>
          <p:cNvPr id="11" name="Bilde 10">
            <a:extLst>
              <a:ext uri="{FF2B5EF4-FFF2-40B4-BE49-F238E27FC236}">
                <a16:creationId xmlns:a16="http://schemas.microsoft.com/office/drawing/2014/main" id="{924479DA-9E77-482F-B749-51FABD45D5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291"/>
          <a:stretch/>
        </p:blipFill>
        <p:spPr>
          <a:xfrm>
            <a:off x="9147182" y="6538622"/>
            <a:ext cx="3044818" cy="319378"/>
          </a:xfrm>
          <a:prstGeom prst="rect">
            <a:avLst/>
          </a:prstGeom>
        </p:spPr>
      </p:pic>
      <p:pic>
        <p:nvPicPr>
          <p:cNvPr id="12" name="Bilde 11">
            <a:extLst>
              <a:ext uri="{FF2B5EF4-FFF2-40B4-BE49-F238E27FC236}">
                <a16:creationId xmlns:a16="http://schemas.microsoft.com/office/drawing/2014/main" id="{39CE7CF4-4E1E-4E39-92C9-DBCBD10CA31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3540" y="6617793"/>
            <a:ext cx="2224907" cy="113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885529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Deloverskrift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7DAC0AFD-A0A0-4165-A09D-E8CA745C8F63}"/>
              </a:ext>
            </a:extLst>
          </p:cNvPr>
          <p:cNvSpPr/>
          <p:nvPr userDrawn="1"/>
        </p:nvSpPr>
        <p:spPr>
          <a:xfrm>
            <a:off x="168793" y="126603"/>
            <a:ext cx="11854403" cy="63805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266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2" y="2860719"/>
            <a:ext cx="10515600" cy="584390"/>
          </a:xfrm>
        </p:spPr>
        <p:txBody>
          <a:bodyPr anchor="b">
            <a:spAutoFit/>
          </a:bodyPr>
          <a:lstStyle>
            <a:lvl1pPr algn="ctr">
              <a:defRPr sz="3797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2" y="3455152"/>
            <a:ext cx="10515600" cy="584390"/>
          </a:xfrm>
        </p:spPr>
        <p:txBody>
          <a:bodyPr>
            <a:spAutoFit/>
          </a:bodyPr>
          <a:lstStyle>
            <a:lvl1pPr marL="0" indent="0" algn="ctr">
              <a:buNone/>
              <a:defRPr sz="3797">
                <a:solidFill>
                  <a:schemeClr val="lt1"/>
                </a:solidFill>
              </a:defRPr>
            </a:lvl1pPr>
            <a:lvl2pPr marL="45716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3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9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6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9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6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dk1"/>
                </a:solidFill>
              </a:defRPr>
            </a:lvl1pPr>
          </a:lstStyle>
          <a:p>
            <a:r>
              <a:rPr lang="nb-NO"/>
              <a:t>Dato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dk1"/>
                </a:solidFill>
              </a:defRPr>
            </a:lvl1pPr>
          </a:lstStyle>
          <a:p>
            <a:fld id="{D5DAC896-3290-4F14-BAAE-6BA5F8CCFA8A}" type="slidenum">
              <a:rPr lang="nb-NO" smtClean="0"/>
              <a:pPr/>
              <a:t>‹#›</a:t>
            </a:fld>
            <a:endParaRPr lang="nb-NO"/>
          </a:p>
        </p:txBody>
      </p:sp>
      <p:cxnSp>
        <p:nvCxnSpPr>
          <p:cNvPr id="12" name="Rett linje 11">
            <a:extLst>
              <a:ext uri="{FF2B5EF4-FFF2-40B4-BE49-F238E27FC236}">
                <a16:creationId xmlns:a16="http://schemas.microsoft.com/office/drawing/2014/main" id="{D3B42DDA-8EFD-4B16-8A49-1565A3F39BC2}"/>
              </a:ext>
            </a:extLst>
          </p:cNvPr>
          <p:cNvCxnSpPr/>
          <p:nvPr userDrawn="1"/>
        </p:nvCxnSpPr>
        <p:spPr>
          <a:xfrm>
            <a:off x="410176" y="6644201"/>
            <a:ext cx="0" cy="10822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Bilde 8">
            <a:extLst>
              <a:ext uri="{FF2B5EF4-FFF2-40B4-BE49-F238E27FC236}">
                <a16:creationId xmlns:a16="http://schemas.microsoft.com/office/drawing/2014/main" id="{1D65297D-FE51-4C1A-8FF0-8D710695D7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291"/>
          <a:stretch/>
        </p:blipFill>
        <p:spPr>
          <a:xfrm>
            <a:off x="9147182" y="6538622"/>
            <a:ext cx="3044818" cy="319378"/>
          </a:xfrm>
          <a:prstGeom prst="rect">
            <a:avLst/>
          </a:prstGeom>
        </p:spPr>
      </p:pic>
      <p:pic>
        <p:nvPicPr>
          <p:cNvPr id="10" name="Bilde 9">
            <a:extLst>
              <a:ext uri="{FF2B5EF4-FFF2-40B4-BE49-F238E27FC236}">
                <a16:creationId xmlns:a16="http://schemas.microsoft.com/office/drawing/2014/main" id="{98BBE067-CB41-4B13-BB45-85EAB4D9591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3540" y="6617793"/>
            <a:ext cx="2224907" cy="113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71140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Dynamic Petrol">
    <p:bg>
      <p:bgPr>
        <a:gradFill>
          <a:gsLst>
            <a:gs pos="83000">
              <a:srgbClr val="0099B0">
                <a:alpha val="85000"/>
              </a:srgbClr>
            </a:gs>
            <a:gs pos="50000">
              <a:srgbClr val="009999">
                <a:alpha val="85000"/>
              </a:srgbClr>
            </a:gs>
            <a:gs pos="0">
              <a:srgbClr val="50BEBE">
                <a:alpha val="85000"/>
              </a:srgbClr>
            </a:gs>
            <a:gs pos="100000">
              <a:srgbClr val="0099CB">
                <a:alpha val="85000"/>
              </a:srgb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096000" y="0"/>
            <a:ext cx="1587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5981" rIns="0" bIns="0">
            <a:noAutofit/>
          </a:bodyPr>
          <a:lstStyle/>
          <a:p>
            <a:pPr algn="ctr" eaLnBrk="1">
              <a:buClrTx/>
              <a:buFontTx/>
              <a:buNone/>
            </a:pPr>
            <a:endParaRPr lang="en-US" sz="1099" b="1" dirty="0">
              <a:solidFill>
                <a:srgbClr val="990000"/>
              </a:solidFill>
            </a:endParaRPr>
          </a:p>
        </p:txBody>
      </p:sp>
      <p:grpSp>
        <p:nvGrpSpPr>
          <p:cNvPr id="31" name="Gruppieren 30"/>
          <p:cNvGrpSpPr/>
          <p:nvPr userDrawn="1"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32" name="Gerade Verbindung 3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123228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0" name="cdtRectangle 115 Id57350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 bwMode="ltGray">
          <a:xfrm>
            <a:off x="626736" y="4569350"/>
            <a:ext cx="6476627" cy="1662564"/>
          </a:xfrm>
          <a:noFill/>
        </p:spPr>
        <p:txBody>
          <a:bodyPr wrap="square" lIns="216000" tIns="90000" rIns="216000" bIns="216000" anchor="b" anchorCtr="0">
            <a:spAutoFit/>
          </a:bodyPr>
          <a:lstStyle>
            <a:lvl1pPr>
              <a:defRPr sz="4398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grpSp>
        <p:nvGrpSpPr>
          <p:cNvPr id="28" name="Group 33"/>
          <p:cNvGrpSpPr>
            <a:grpSpLocks noChangeAspect="1"/>
          </p:cNvGrpSpPr>
          <p:nvPr userDrawn="1"/>
        </p:nvGrpSpPr>
        <p:grpSpPr bwMode="auto">
          <a:xfrm>
            <a:off x="9550189" y="323850"/>
            <a:ext cx="2157876" cy="914400"/>
            <a:chOff x="6019" y="204"/>
            <a:chExt cx="1360" cy="576"/>
          </a:xfrm>
        </p:grpSpPr>
        <p:sp>
          <p:nvSpPr>
            <p:cNvPr id="33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34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35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36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37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38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39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40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41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42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43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44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45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46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47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48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49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50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51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52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53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54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55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77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78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79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80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</p:grpSp>
    </p:spTree>
    <p:extLst>
      <p:ext uri="{BB962C8B-B14F-4D97-AF65-F5344CB8AC3E}">
        <p14:creationId xmlns:p14="http://schemas.microsoft.com/office/powerpoint/2010/main" val="6853992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,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6">
            <a:extLst>
              <a:ext uri="{FF2B5EF4-FFF2-40B4-BE49-F238E27FC236}">
                <a16:creationId xmlns:a16="http://schemas.microsoft.com/office/drawing/2014/main" id="{2263A8B9-16D7-422B-AA44-1245FB19D1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68792" y="126601"/>
            <a:ext cx="11855928" cy="2658569"/>
          </a:xfrm>
        </p:spPr>
        <p:txBody>
          <a:bodyPr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C2E28AF3-910C-4B39-B2C6-0E6552096922}"/>
              </a:ext>
            </a:extLst>
          </p:cNvPr>
          <p:cNvSpPr/>
          <p:nvPr userDrawn="1"/>
        </p:nvSpPr>
        <p:spPr>
          <a:xfrm>
            <a:off x="1" y="6517314"/>
            <a:ext cx="12192000" cy="34068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266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50334" y="3211864"/>
            <a:ext cx="8945949" cy="584390"/>
          </a:xfrm>
        </p:spPr>
        <p:txBody>
          <a:bodyPr>
            <a:spAutoFit/>
          </a:bodyPr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50335" y="4022587"/>
            <a:ext cx="8945950" cy="2154377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Dato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DAC896-3290-4F14-BAAE-6BA5F8CCFA8A}" type="slidenum">
              <a:rPr lang="nb-NO" smtClean="0"/>
              <a:t>‹#›</a:t>
            </a:fld>
            <a:endParaRPr lang="nb-NO"/>
          </a:p>
        </p:txBody>
      </p:sp>
      <p:cxnSp>
        <p:nvCxnSpPr>
          <p:cNvPr id="18" name="Rett linje 17">
            <a:extLst>
              <a:ext uri="{FF2B5EF4-FFF2-40B4-BE49-F238E27FC236}">
                <a16:creationId xmlns:a16="http://schemas.microsoft.com/office/drawing/2014/main" id="{A0B9A65C-120D-44A5-B4E1-898D63953076}"/>
              </a:ext>
            </a:extLst>
          </p:cNvPr>
          <p:cNvCxnSpPr/>
          <p:nvPr userDrawn="1"/>
        </p:nvCxnSpPr>
        <p:spPr>
          <a:xfrm>
            <a:off x="410176" y="6644201"/>
            <a:ext cx="0" cy="108220"/>
          </a:xfrm>
          <a:prstGeom prst="line">
            <a:avLst/>
          </a:prstGeom>
          <a:ln w="12700">
            <a:solidFill>
              <a:schemeClr val="l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lassholder for tekst 15">
            <a:extLst>
              <a:ext uri="{FF2B5EF4-FFF2-40B4-BE49-F238E27FC236}">
                <a16:creationId xmlns:a16="http://schemas.microsoft.com/office/drawing/2014/main" id="{704CC97B-3881-47E4-A14F-D65AB42ED3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758710" y="344255"/>
            <a:ext cx="1012654" cy="1012665"/>
          </a:xfrm>
          <a:prstGeom prst="ellipse">
            <a:avLst/>
          </a:prstGeom>
          <a:solidFill>
            <a:srgbClr val="005F64">
              <a:alpha val="69804"/>
            </a:srgbClr>
          </a:solid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13" name="Plassholder for tekst 15">
            <a:extLst>
              <a:ext uri="{FF2B5EF4-FFF2-40B4-BE49-F238E27FC236}">
                <a16:creationId xmlns:a16="http://schemas.microsoft.com/office/drawing/2014/main" id="{01F19E00-B936-4049-8A25-1690992439D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758710" y="344255"/>
            <a:ext cx="1012654" cy="1012665"/>
          </a:xfrm>
          <a:prstGeom prst="ellipse">
            <a:avLst/>
          </a:prstGeo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pic>
        <p:nvPicPr>
          <p:cNvPr id="14" name="Bilde 13">
            <a:extLst>
              <a:ext uri="{FF2B5EF4-FFF2-40B4-BE49-F238E27FC236}">
                <a16:creationId xmlns:a16="http://schemas.microsoft.com/office/drawing/2014/main" id="{AE5218B0-0F5E-4AE0-97FB-2D3D916CA09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9819" y="6592209"/>
            <a:ext cx="2692181" cy="265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815605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ingress, bilde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Dato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DAC896-3290-4F14-BAAE-6BA5F8CCFA8A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77928EF2-103F-4C47-A62A-EA181BEF62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50035" y="1571425"/>
            <a:ext cx="8945950" cy="772107"/>
          </a:xfrm>
        </p:spPr>
        <p:txBody>
          <a:bodyPr>
            <a:noAutofit/>
          </a:bodyPr>
          <a:lstStyle>
            <a:lvl1pPr marL="0" indent="0">
              <a:buNone/>
              <a:defRPr sz="2602" b="1"/>
            </a:lvl1pPr>
          </a:lstStyle>
          <a:p>
            <a:pPr lvl="0"/>
            <a:r>
              <a:rPr lang="nb-NO" dirty="0"/>
              <a:t>Ingress</a:t>
            </a:r>
          </a:p>
        </p:txBody>
      </p:sp>
      <p:sp>
        <p:nvSpPr>
          <p:cNvPr id="10" name="Plassholder for bilde 9">
            <a:extLst>
              <a:ext uri="{FF2B5EF4-FFF2-40B4-BE49-F238E27FC236}">
                <a16:creationId xmlns:a16="http://schemas.microsoft.com/office/drawing/2014/main" id="{A91273AD-E16D-4FA6-A765-406B2671A9F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350036" y="2466147"/>
            <a:ext cx="4321365" cy="2534213"/>
          </a:xfrm>
        </p:spPr>
        <p:txBody>
          <a:bodyPr/>
          <a:lstStyle/>
          <a:p>
            <a:r>
              <a:rPr lang="nb-NO"/>
              <a:t>Klikk ikonet for å legge til et bilde</a:t>
            </a:r>
            <a:endParaRPr lang="nb-NO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CCDAA76C-CA59-4E53-B118-1BE8AF9C7537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974918" y="2464998"/>
            <a:ext cx="4321067" cy="371196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08390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Dato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DAC896-3290-4F14-BAAE-6BA5F8CCFA8A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0F077D80-2445-467A-B6EA-3B1C5BD4929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50035" y="1571425"/>
            <a:ext cx="8945950" cy="772107"/>
          </a:xfrm>
        </p:spPr>
        <p:txBody>
          <a:bodyPr>
            <a:noAutofit/>
          </a:bodyPr>
          <a:lstStyle>
            <a:lvl1pPr marL="0" indent="0">
              <a:buNone/>
              <a:defRPr sz="2602" b="1"/>
            </a:lvl1pPr>
          </a:lstStyle>
          <a:p>
            <a:pPr lvl="0"/>
            <a:r>
              <a:rPr lang="nb-NO" dirty="0"/>
              <a:t>Ingres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41F201A-41B8-4D42-8F28-C24E0164FE9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50335" y="2464998"/>
            <a:ext cx="4321067" cy="371196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9BF4EEF-79FD-4477-B72B-8F0E2E31EE6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974918" y="2464998"/>
            <a:ext cx="4321067" cy="371196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067267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 (uten ingre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Dato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DAC896-3290-4F14-BAAE-6BA5F8CCFA8A}" type="slidenum">
              <a:rPr lang="nb-NO" smtClean="0"/>
              <a:t>‹#›</a:t>
            </a:fld>
            <a:endParaRPr lang="nb-NO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41F201A-41B8-4D42-8F28-C24E0164FE9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50335" y="1571425"/>
            <a:ext cx="4321067" cy="4605541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9BF4EEF-79FD-4477-B72B-8F0E2E31EE6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974918" y="1571425"/>
            <a:ext cx="4321067" cy="4605541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41820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7DAC0AFD-A0A0-4165-A09D-E8CA745C8F63}"/>
              </a:ext>
            </a:extLst>
          </p:cNvPr>
          <p:cNvSpPr/>
          <p:nvPr userDrawn="1"/>
        </p:nvSpPr>
        <p:spPr>
          <a:xfrm>
            <a:off x="168793" y="126603"/>
            <a:ext cx="11854403" cy="63805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266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1" y="2802059"/>
            <a:ext cx="10515600" cy="584390"/>
          </a:xfr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3797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ABD2E6C4-5BFA-470B-8E57-3F6125120A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291"/>
          <a:stretch/>
        </p:blipFill>
        <p:spPr>
          <a:xfrm>
            <a:off x="9147182" y="6538622"/>
            <a:ext cx="3044818" cy="319378"/>
          </a:xfrm>
          <a:prstGeom prst="rect">
            <a:avLst/>
          </a:prstGeom>
        </p:spPr>
      </p:pic>
      <p:pic>
        <p:nvPicPr>
          <p:cNvPr id="9" name="Bilde 8">
            <a:extLst>
              <a:ext uri="{FF2B5EF4-FFF2-40B4-BE49-F238E27FC236}">
                <a16:creationId xmlns:a16="http://schemas.microsoft.com/office/drawing/2014/main" id="{D3E2C70F-6117-45CF-A704-6BB5CE9F61D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3540" y="6617793"/>
            <a:ext cx="2224907" cy="113604"/>
          </a:xfrm>
          <a:prstGeom prst="rect">
            <a:avLst/>
          </a:prstGeom>
        </p:spPr>
      </p:pic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E13A9F36-52E5-4BE4-B559-B6167736559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8065" y="6633484"/>
            <a:ext cx="2743200" cy="108220"/>
          </a:xfrm>
        </p:spPr>
        <p:txBody>
          <a:bodyPr/>
          <a:lstStyle>
            <a:lvl1pPr>
              <a:defRPr>
                <a:solidFill>
                  <a:schemeClr val="dk1"/>
                </a:solidFill>
              </a:defRPr>
            </a:lvl1pPr>
          </a:lstStyle>
          <a:p>
            <a:r>
              <a:rPr lang="nb-NO"/>
              <a:t>Dato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D5CDA8D6-555F-401B-8FA2-920084093F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30932" y="6633484"/>
            <a:ext cx="188053" cy="108220"/>
          </a:xfrm>
        </p:spPr>
        <p:txBody>
          <a:bodyPr/>
          <a:lstStyle>
            <a:lvl1pPr>
              <a:defRPr>
                <a:solidFill>
                  <a:schemeClr val="dk1"/>
                </a:solidFill>
              </a:defRPr>
            </a:lvl1pPr>
          </a:lstStyle>
          <a:p>
            <a:fld id="{D5DAC896-3290-4F14-BAAE-6BA5F8CCFA8A}" type="slidenum">
              <a:rPr lang="nb-NO" smtClean="0"/>
              <a:pPr/>
              <a:t>‹#›</a:t>
            </a:fld>
            <a:endParaRPr lang="nb-NO"/>
          </a:p>
        </p:txBody>
      </p:sp>
      <p:cxnSp>
        <p:nvCxnSpPr>
          <p:cNvPr id="12" name="Rett linje 11">
            <a:extLst>
              <a:ext uri="{FF2B5EF4-FFF2-40B4-BE49-F238E27FC236}">
                <a16:creationId xmlns:a16="http://schemas.microsoft.com/office/drawing/2014/main" id="{BA35BC83-5F26-4A2F-9756-70611207302E}"/>
              </a:ext>
            </a:extLst>
          </p:cNvPr>
          <p:cNvCxnSpPr/>
          <p:nvPr userDrawn="1"/>
        </p:nvCxnSpPr>
        <p:spPr>
          <a:xfrm>
            <a:off x="410176" y="6644201"/>
            <a:ext cx="0" cy="10822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0587390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Dato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DAC896-3290-4F14-BAAE-6BA5F8CCFA8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6808757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Dat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DAC896-3290-4F14-BAAE-6BA5F8CCFA8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1384938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Dat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DAC896-3290-4F14-BAAE-6BA5F8CCFA8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3356651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99600" cy="83283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50866" y="2348880"/>
            <a:ext cx="9217025" cy="2160240"/>
          </a:xfrm>
        </p:spPr>
        <p:txBody>
          <a:bodyPr anchor="t" anchorCtr="0"/>
          <a:lstStyle>
            <a:lvl1pPr algn="l">
              <a:defRPr sz="5000" b="1"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50866" y="1484313"/>
            <a:ext cx="9217025" cy="721022"/>
          </a:xfrm>
        </p:spPr>
        <p:txBody>
          <a:bodyPr anchor="b" anchorCtr="0"/>
          <a:lstStyle>
            <a:lvl1pPr marL="0" indent="0" algn="l">
              <a:buNone/>
              <a:defRPr sz="200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9F390351-5F38-4866-9229-50C503077A18}" type="datetime1">
              <a:rPr lang="en-US" smtClean="0"/>
              <a:t>5/29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6" y="4653136"/>
            <a:ext cx="9217025" cy="720552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r>
              <a:rPr lang="en-US" dirty="0"/>
              <a:t>Name / Title / Date</a:t>
            </a:r>
          </a:p>
        </p:txBody>
      </p:sp>
      <p:grpSp>
        <p:nvGrpSpPr>
          <p:cNvPr id="17" name="Group 16"/>
          <p:cNvGrpSpPr>
            <a:grpSpLocks noChangeAspect="1"/>
          </p:cNvGrpSpPr>
          <p:nvPr userDrawn="1"/>
        </p:nvGrpSpPr>
        <p:grpSpPr>
          <a:xfrm>
            <a:off x="10176312" y="5785848"/>
            <a:ext cx="1584176" cy="913626"/>
            <a:chOff x="10176312" y="5785848"/>
            <a:chExt cx="1584176" cy="913626"/>
          </a:xfrm>
        </p:grpSpPr>
        <p:sp>
          <p:nvSpPr>
            <p:cNvPr id="9" name="Freeform 6"/>
            <p:cNvSpPr>
              <a:spLocks/>
            </p:cNvSpPr>
            <p:nvPr userDrawn="1"/>
          </p:nvSpPr>
          <p:spPr bwMode="auto">
            <a:xfrm>
              <a:off x="10297850" y="6211927"/>
              <a:ext cx="1462638" cy="487547"/>
            </a:xfrm>
            <a:custGeom>
              <a:avLst/>
              <a:gdLst>
                <a:gd name="T0" fmla="*/ 0 w 10464"/>
                <a:gd name="T1" fmla="*/ 3488 h 3488"/>
                <a:gd name="T2" fmla="*/ 653 w 10464"/>
                <a:gd name="T3" fmla="*/ 3488 h 3488"/>
                <a:gd name="T4" fmla="*/ 1307 w 10464"/>
                <a:gd name="T5" fmla="*/ 3488 h 3488"/>
                <a:gd name="T6" fmla="*/ 1962 w 10464"/>
                <a:gd name="T7" fmla="*/ 3488 h 3488"/>
                <a:gd name="T8" fmla="*/ 2616 w 10464"/>
                <a:gd name="T9" fmla="*/ 3488 h 3488"/>
                <a:gd name="T10" fmla="*/ 3269 w 10464"/>
                <a:gd name="T11" fmla="*/ 3488 h 3488"/>
                <a:gd name="T12" fmla="*/ 3923 w 10464"/>
                <a:gd name="T13" fmla="*/ 3488 h 3488"/>
                <a:gd name="T14" fmla="*/ 4578 w 10464"/>
                <a:gd name="T15" fmla="*/ 3488 h 3488"/>
                <a:gd name="T16" fmla="*/ 5232 w 10464"/>
                <a:gd name="T17" fmla="*/ 3488 h 3488"/>
                <a:gd name="T18" fmla="*/ 5885 w 10464"/>
                <a:gd name="T19" fmla="*/ 3488 h 3488"/>
                <a:gd name="T20" fmla="*/ 6539 w 10464"/>
                <a:gd name="T21" fmla="*/ 3488 h 3488"/>
                <a:gd name="T22" fmla="*/ 7193 w 10464"/>
                <a:gd name="T23" fmla="*/ 3488 h 3488"/>
                <a:gd name="T24" fmla="*/ 7848 w 10464"/>
                <a:gd name="T25" fmla="*/ 3488 h 3488"/>
                <a:gd name="T26" fmla="*/ 8501 w 10464"/>
                <a:gd name="T27" fmla="*/ 3488 h 3488"/>
                <a:gd name="T28" fmla="*/ 9155 w 10464"/>
                <a:gd name="T29" fmla="*/ 3488 h 3488"/>
                <a:gd name="T30" fmla="*/ 9809 w 10464"/>
                <a:gd name="T31" fmla="*/ 3488 h 3488"/>
                <a:gd name="T32" fmla="*/ 10464 w 10464"/>
                <a:gd name="T33" fmla="*/ 3488 h 3488"/>
                <a:gd name="T34" fmla="*/ 10464 w 10464"/>
                <a:gd name="T35" fmla="*/ 2616 h 3488"/>
                <a:gd name="T36" fmla="*/ 10464 w 10464"/>
                <a:gd name="T37" fmla="*/ 1744 h 3488"/>
                <a:gd name="T38" fmla="*/ 10464 w 10464"/>
                <a:gd name="T39" fmla="*/ 872 h 3488"/>
                <a:gd name="T40" fmla="*/ 10464 w 10464"/>
                <a:gd name="T41" fmla="*/ 0 h 3488"/>
                <a:gd name="T42" fmla="*/ 9809 w 10464"/>
                <a:gd name="T43" fmla="*/ 0 h 3488"/>
                <a:gd name="T44" fmla="*/ 9155 w 10464"/>
                <a:gd name="T45" fmla="*/ 0 h 3488"/>
                <a:gd name="T46" fmla="*/ 8501 w 10464"/>
                <a:gd name="T47" fmla="*/ 0 h 3488"/>
                <a:gd name="T48" fmla="*/ 7848 w 10464"/>
                <a:gd name="T49" fmla="*/ 0 h 3488"/>
                <a:gd name="T50" fmla="*/ 7193 w 10464"/>
                <a:gd name="T51" fmla="*/ 0 h 3488"/>
                <a:gd name="T52" fmla="*/ 6539 w 10464"/>
                <a:gd name="T53" fmla="*/ 0 h 3488"/>
                <a:gd name="T54" fmla="*/ 5885 w 10464"/>
                <a:gd name="T55" fmla="*/ 0 h 3488"/>
                <a:gd name="T56" fmla="*/ 5232 w 10464"/>
                <a:gd name="T57" fmla="*/ 0 h 3488"/>
                <a:gd name="T58" fmla="*/ 4578 w 10464"/>
                <a:gd name="T59" fmla="*/ 0 h 3488"/>
                <a:gd name="T60" fmla="*/ 3923 w 10464"/>
                <a:gd name="T61" fmla="*/ 0 h 3488"/>
                <a:gd name="T62" fmla="*/ 3269 w 10464"/>
                <a:gd name="T63" fmla="*/ 0 h 3488"/>
                <a:gd name="T64" fmla="*/ 2616 w 10464"/>
                <a:gd name="T65" fmla="*/ 0 h 3488"/>
                <a:gd name="T66" fmla="*/ 1962 w 10464"/>
                <a:gd name="T67" fmla="*/ 0 h 3488"/>
                <a:gd name="T68" fmla="*/ 1307 w 10464"/>
                <a:gd name="T69" fmla="*/ 0 h 3488"/>
                <a:gd name="T70" fmla="*/ 653 w 10464"/>
                <a:gd name="T71" fmla="*/ 0 h 3488"/>
                <a:gd name="T72" fmla="*/ 0 w 10464"/>
                <a:gd name="T73" fmla="*/ 0 h 3488"/>
                <a:gd name="T74" fmla="*/ 0 w 10464"/>
                <a:gd name="T75" fmla="*/ 872 h 3488"/>
                <a:gd name="T76" fmla="*/ 0 w 10464"/>
                <a:gd name="T77" fmla="*/ 1744 h 3488"/>
                <a:gd name="T78" fmla="*/ 0 w 10464"/>
                <a:gd name="T79" fmla="*/ 2616 h 3488"/>
                <a:gd name="T80" fmla="*/ 0 w 10464"/>
                <a:gd name="T81" fmla="*/ 3488 h 3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0464" h="3488">
                  <a:moveTo>
                    <a:pt x="0" y="3488"/>
                  </a:moveTo>
                  <a:lnTo>
                    <a:pt x="653" y="3488"/>
                  </a:lnTo>
                  <a:lnTo>
                    <a:pt x="1307" y="3488"/>
                  </a:lnTo>
                  <a:lnTo>
                    <a:pt x="1962" y="3488"/>
                  </a:lnTo>
                  <a:lnTo>
                    <a:pt x="2616" y="3488"/>
                  </a:lnTo>
                  <a:lnTo>
                    <a:pt x="3269" y="3488"/>
                  </a:lnTo>
                  <a:lnTo>
                    <a:pt x="3923" y="3488"/>
                  </a:lnTo>
                  <a:lnTo>
                    <a:pt x="4578" y="3488"/>
                  </a:lnTo>
                  <a:lnTo>
                    <a:pt x="5232" y="3488"/>
                  </a:lnTo>
                  <a:lnTo>
                    <a:pt x="5885" y="3488"/>
                  </a:lnTo>
                  <a:lnTo>
                    <a:pt x="6539" y="3488"/>
                  </a:lnTo>
                  <a:lnTo>
                    <a:pt x="7193" y="3488"/>
                  </a:lnTo>
                  <a:lnTo>
                    <a:pt x="7848" y="3488"/>
                  </a:lnTo>
                  <a:lnTo>
                    <a:pt x="8501" y="3488"/>
                  </a:lnTo>
                  <a:lnTo>
                    <a:pt x="9155" y="3488"/>
                  </a:lnTo>
                  <a:lnTo>
                    <a:pt x="9809" y="3488"/>
                  </a:lnTo>
                  <a:lnTo>
                    <a:pt x="10464" y="3488"/>
                  </a:lnTo>
                  <a:lnTo>
                    <a:pt x="10464" y="2616"/>
                  </a:lnTo>
                  <a:lnTo>
                    <a:pt x="10464" y="1744"/>
                  </a:lnTo>
                  <a:lnTo>
                    <a:pt x="10464" y="872"/>
                  </a:lnTo>
                  <a:lnTo>
                    <a:pt x="10464" y="0"/>
                  </a:lnTo>
                  <a:lnTo>
                    <a:pt x="9809" y="0"/>
                  </a:lnTo>
                  <a:lnTo>
                    <a:pt x="9155" y="0"/>
                  </a:lnTo>
                  <a:lnTo>
                    <a:pt x="8501" y="0"/>
                  </a:lnTo>
                  <a:lnTo>
                    <a:pt x="7848" y="0"/>
                  </a:lnTo>
                  <a:lnTo>
                    <a:pt x="7193" y="0"/>
                  </a:lnTo>
                  <a:lnTo>
                    <a:pt x="6539" y="0"/>
                  </a:lnTo>
                  <a:lnTo>
                    <a:pt x="5885" y="0"/>
                  </a:lnTo>
                  <a:lnTo>
                    <a:pt x="5232" y="0"/>
                  </a:lnTo>
                  <a:lnTo>
                    <a:pt x="4578" y="0"/>
                  </a:lnTo>
                  <a:lnTo>
                    <a:pt x="3923" y="0"/>
                  </a:lnTo>
                  <a:lnTo>
                    <a:pt x="3269" y="0"/>
                  </a:lnTo>
                  <a:lnTo>
                    <a:pt x="2616" y="0"/>
                  </a:lnTo>
                  <a:lnTo>
                    <a:pt x="1962" y="0"/>
                  </a:lnTo>
                  <a:lnTo>
                    <a:pt x="1307" y="0"/>
                  </a:lnTo>
                  <a:lnTo>
                    <a:pt x="653" y="0"/>
                  </a:lnTo>
                  <a:lnTo>
                    <a:pt x="0" y="0"/>
                  </a:lnTo>
                  <a:lnTo>
                    <a:pt x="0" y="872"/>
                  </a:lnTo>
                  <a:lnTo>
                    <a:pt x="0" y="1744"/>
                  </a:lnTo>
                  <a:lnTo>
                    <a:pt x="0" y="2616"/>
                  </a:lnTo>
                  <a:lnTo>
                    <a:pt x="0" y="3488"/>
                  </a:lnTo>
                  <a:close/>
                </a:path>
              </a:pathLst>
            </a:custGeom>
            <a:solidFill>
              <a:srgbClr val="5AC3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0" name="Freeform 7"/>
            <p:cNvSpPr>
              <a:spLocks noEditPoints="1"/>
            </p:cNvSpPr>
            <p:nvPr userDrawn="1"/>
          </p:nvSpPr>
          <p:spPr bwMode="auto">
            <a:xfrm>
              <a:off x="10419386" y="6306922"/>
              <a:ext cx="1218166" cy="286381"/>
            </a:xfrm>
            <a:custGeom>
              <a:avLst/>
              <a:gdLst>
                <a:gd name="T0" fmla="*/ 3454 w 8720"/>
                <a:gd name="T1" fmla="*/ 1049 h 2050"/>
                <a:gd name="T2" fmla="*/ 3166 w 8720"/>
                <a:gd name="T3" fmla="*/ 1051 h 2050"/>
                <a:gd name="T4" fmla="*/ 3068 w 8720"/>
                <a:gd name="T5" fmla="*/ 1409 h 2050"/>
                <a:gd name="T6" fmla="*/ 3261 w 8720"/>
                <a:gd name="T7" fmla="*/ 1675 h 2050"/>
                <a:gd name="T8" fmla="*/ 3519 w 8720"/>
                <a:gd name="T9" fmla="*/ 1539 h 2050"/>
                <a:gd name="T10" fmla="*/ 3863 w 8720"/>
                <a:gd name="T11" fmla="*/ 1565 h 2050"/>
                <a:gd name="T12" fmla="*/ 3603 w 8720"/>
                <a:gd name="T13" fmla="*/ 1898 h 2050"/>
                <a:gd name="T14" fmla="*/ 3188 w 8720"/>
                <a:gd name="T15" fmla="*/ 1959 h 2050"/>
                <a:gd name="T16" fmla="*/ 2786 w 8720"/>
                <a:gd name="T17" fmla="*/ 1655 h 2050"/>
                <a:gd name="T18" fmla="*/ 2732 w 8720"/>
                <a:gd name="T19" fmla="*/ 1207 h 2050"/>
                <a:gd name="T20" fmla="*/ 3018 w 8720"/>
                <a:gd name="T21" fmla="*/ 786 h 2050"/>
                <a:gd name="T22" fmla="*/ 3503 w 8720"/>
                <a:gd name="T23" fmla="*/ 740 h 2050"/>
                <a:gd name="T24" fmla="*/ 3857 w 8720"/>
                <a:gd name="T25" fmla="*/ 1088 h 2050"/>
                <a:gd name="T26" fmla="*/ 4586 w 8720"/>
                <a:gd name="T27" fmla="*/ 1045 h 2050"/>
                <a:gd name="T28" fmla="*/ 4361 w 8720"/>
                <a:gd name="T29" fmla="*/ 1327 h 2050"/>
                <a:gd name="T30" fmla="*/ 4391 w 8720"/>
                <a:gd name="T31" fmla="*/ 895 h 2050"/>
                <a:gd name="T32" fmla="*/ 4703 w 8720"/>
                <a:gd name="T33" fmla="*/ 728 h 2050"/>
                <a:gd name="T34" fmla="*/ 5384 w 8720"/>
                <a:gd name="T35" fmla="*/ 1679 h 2050"/>
                <a:gd name="T36" fmla="*/ 5258 w 8720"/>
                <a:gd name="T37" fmla="*/ 1026 h 2050"/>
                <a:gd name="T38" fmla="*/ 4962 w 8720"/>
                <a:gd name="T39" fmla="*/ 1758 h 2050"/>
                <a:gd name="T40" fmla="*/ 5374 w 8720"/>
                <a:gd name="T41" fmla="*/ 1960 h 2050"/>
                <a:gd name="T42" fmla="*/ 6441 w 8720"/>
                <a:gd name="T43" fmla="*/ 1538 h 2050"/>
                <a:gd name="T44" fmla="*/ 6231 w 8720"/>
                <a:gd name="T45" fmla="*/ 1676 h 2050"/>
                <a:gd name="T46" fmla="*/ 6056 w 8720"/>
                <a:gd name="T47" fmla="*/ 1487 h 2050"/>
                <a:gd name="T48" fmla="*/ 5746 w 8720"/>
                <a:gd name="T49" fmla="*/ 1671 h 2050"/>
                <a:gd name="T50" fmla="*/ 5949 w 8720"/>
                <a:gd name="T51" fmla="*/ 1899 h 2050"/>
                <a:gd name="T52" fmla="*/ 6505 w 8720"/>
                <a:gd name="T53" fmla="*/ 1921 h 2050"/>
                <a:gd name="T54" fmla="*/ 6769 w 8720"/>
                <a:gd name="T55" fmla="*/ 1628 h 2050"/>
                <a:gd name="T56" fmla="*/ 8698 w 8720"/>
                <a:gd name="T57" fmla="*/ 985 h 2050"/>
                <a:gd name="T58" fmla="*/ 8484 w 8720"/>
                <a:gd name="T59" fmla="*/ 747 h 2050"/>
                <a:gd name="T60" fmla="*/ 8083 w 8720"/>
                <a:gd name="T61" fmla="*/ 806 h 2050"/>
                <a:gd name="T62" fmla="*/ 7885 w 8720"/>
                <a:gd name="T63" fmla="*/ 840 h 2050"/>
                <a:gd name="T64" fmla="*/ 7630 w 8720"/>
                <a:gd name="T65" fmla="*/ 721 h 2050"/>
                <a:gd name="T66" fmla="*/ 7324 w 8720"/>
                <a:gd name="T67" fmla="*/ 871 h 2050"/>
                <a:gd name="T68" fmla="*/ 7270 w 8720"/>
                <a:gd name="T69" fmla="*/ 1283 h 2050"/>
                <a:gd name="T70" fmla="*/ 7447 w 8720"/>
                <a:gd name="T71" fmla="*/ 1034 h 2050"/>
                <a:gd name="T72" fmla="*/ 7645 w 8720"/>
                <a:gd name="T73" fmla="*/ 1211 h 2050"/>
                <a:gd name="T74" fmla="*/ 8034 w 8720"/>
                <a:gd name="T75" fmla="*/ 1138 h 2050"/>
                <a:gd name="T76" fmla="*/ 8289 w 8720"/>
                <a:gd name="T77" fmla="*/ 1046 h 2050"/>
                <a:gd name="T78" fmla="*/ 8377 w 8720"/>
                <a:gd name="T79" fmla="*/ 1938 h 2050"/>
                <a:gd name="T80" fmla="*/ 2458 w 8720"/>
                <a:gd name="T81" fmla="*/ 483 h 2050"/>
                <a:gd name="T82" fmla="*/ 2107 w 8720"/>
                <a:gd name="T83" fmla="*/ 1483 h 2050"/>
                <a:gd name="T84" fmla="*/ 2152 w 8720"/>
                <a:gd name="T85" fmla="*/ 299 h 2050"/>
                <a:gd name="T86" fmla="*/ 2419 w 8720"/>
                <a:gd name="T87" fmla="*/ 83 h 2050"/>
                <a:gd name="T88" fmla="*/ 2622 w 8720"/>
                <a:gd name="T89" fmla="*/ 369 h 2050"/>
                <a:gd name="T90" fmla="*/ 1130 w 8720"/>
                <a:gd name="T91" fmla="*/ 2050 h 2050"/>
                <a:gd name="T92" fmla="*/ 570 w 8720"/>
                <a:gd name="T93" fmla="*/ 1915 h 2050"/>
                <a:gd name="T94" fmla="*/ 120 w 8720"/>
                <a:gd name="T95" fmla="*/ 1452 h 2050"/>
                <a:gd name="T96" fmla="*/ 8 w 8720"/>
                <a:gd name="T97" fmla="*/ 822 h 2050"/>
                <a:gd name="T98" fmla="*/ 222 w 8720"/>
                <a:gd name="T99" fmla="*/ 289 h 2050"/>
                <a:gd name="T100" fmla="*/ 690 w 8720"/>
                <a:gd name="T101" fmla="*/ 389 h 2050"/>
                <a:gd name="T102" fmla="*/ 424 w 8720"/>
                <a:gd name="T103" fmla="*/ 782 h 2050"/>
                <a:gd name="T104" fmla="*/ 460 w 8720"/>
                <a:gd name="T105" fmla="*/ 1242 h 2050"/>
                <a:gd name="T106" fmla="*/ 783 w 8720"/>
                <a:gd name="T107" fmla="*/ 1573 h 2050"/>
                <a:gd name="T108" fmla="*/ 1246 w 8720"/>
                <a:gd name="T109" fmla="*/ 1632 h 2050"/>
                <a:gd name="T110" fmla="*/ 745 w 8720"/>
                <a:gd name="T111" fmla="*/ 1453 h 2050"/>
                <a:gd name="T112" fmla="*/ 1347 w 8720"/>
                <a:gd name="T113" fmla="*/ 1509 h 2050"/>
                <a:gd name="T114" fmla="*/ 1693 w 8720"/>
                <a:gd name="T115" fmla="*/ 1099 h 2050"/>
                <a:gd name="T116" fmla="*/ 1523 w 8720"/>
                <a:gd name="T117" fmla="*/ 505 h 2050"/>
                <a:gd name="T118" fmla="*/ 1152 w 8720"/>
                <a:gd name="T119" fmla="*/ 342 h 2050"/>
                <a:gd name="T120" fmla="*/ 691 w 8720"/>
                <a:gd name="T121" fmla="*/ 497 h 2050"/>
                <a:gd name="T122" fmla="*/ 491 w 8720"/>
                <a:gd name="T123" fmla="*/ 1037 h 2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720" h="2050">
                  <a:moveTo>
                    <a:pt x="3554" y="1338"/>
                  </a:moveTo>
                  <a:lnTo>
                    <a:pt x="3553" y="1299"/>
                  </a:lnTo>
                  <a:lnTo>
                    <a:pt x="3550" y="1263"/>
                  </a:lnTo>
                  <a:lnTo>
                    <a:pt x="3546" y="1228"/>
                  </a:lnTo>
                  <a:lnTo>
                    <a:pt x="3538" y="1196"/>
                  </a:lnTo>
                  <a:lnTo>
                    <a:pt x="3529" y="1165"/>
                  </a:lnTo>
                  <a:lnTo>
                    <a:pt x="3518" y="1137"/>
                  </a:lnTo>
                  <a:lnTo>
                    <a:pt x="3511" y="1124"/>
                  </a:lnTo>
                  <a:lnTo>
                    <a:pt x="3504" y="1112"/>
                  </a:lnTo>
                  <a:lnTo>
                    <a:pt x="3490" y="1088"/>
                  </a:lnTo>
                  <a:lnTo>
                    <a:pt x="3473" y="1068"/>
                  </a:lnTo>
                  <a:lnTo>
                    <a:pt x="3454" y="1049"/>
                  </a:lnTo>
                  <a:lnTo>
                    <a:pt x="3436" y="1034"/>
                  </a:lnTo>
                  <a:lnTo>
                    <a:pt x="3413" y="1022"/>
                  </a:lnTo>
                  <a:lnTo>
                    <a:pt x="3390" y="1012"/>
                  </a:lnTo>
                  <a:lnTo>
                    <a:pt x="3366" y="1004"/>
                  </a:lnTo>
                  <a:lnTo>
                    <a:pt x="3339" y="1000"/>
                  </a:lnTo>
                  <a:lnTo>
                    <a:pt x="3311" y="998"/>
                  </a:lnTo>
                  <a:lnTo>
                    <a:pt x="3283" y="1000"/>
                  </a:lnTo>
                  <a:lnTo>
                    <a:pt x="3257" y="1004"/>
                  </a:lnTo>
                  <a:lnTo>
                    <a:pt x="3232" y="1012"/>
                  </a:lnTo>
                  <a:lnTo>
                    <a:pt x="3209" y="1022"/>
                  </a:lnTo>
                  <a:lnTo>
                    <a:pt x="3187" y="1035"/>
                  </a:lnTo>
                  <a:lnTo>
                    <a:pt x="3166" y="1051"/>
                  </a:lnTo>
                  <a:lnTo>
                    <a:pt x="3148" y="1069"/>
                  </a:lnTo>
                  <a:lnTo>
                    <a:pt x="3130" y="1091"/>
                  </a:lnTo>
                  <a:lnTo>
                    <a:pt x="3116" y="1114"/>
                  </a:lnTo>
                  <a:lnTo>
                    <a:pt x="3102" y="1139"/>
                  </a:lnTo>
                  <a:lnTo>
                    <a:pt x="3090" y="1167"/>
                  </a:lnTo>
                  <a:lnTo>
                    <a:pt x="3081" y="1197"/>
                  </a:lnTo>
                  <a:lnTo>
                    <a:pt x="3073" y="1228"/>
                  </a:lnTo>
                  <a:lnTo>
                    <a:pt x="3068" y="1263"/>
                  </a:lnTo>
                  <a:lnTo>
                    <a:pt x="3065" y="1298"/>
                  </a:lnTo>
                  <a:lnTo>
                    <a:pt x="3063" y="1336"/>
                  </a:lnTo>
                  <a:lnTo>
                    <a:pt x="3065" y="1374"/>
                  </a:lnTo>
                  <a:lnTo>
                    <a:pt x="3068" y="1409"/>
                  </a:lnTo>
                  <a:lnTo>
                    <a:pt x="3073" y="1444"/>
                  </a:lnTo>
                  <a:lnTo>
                    <a:pt x="3081" y="1477"/>
                  </a:lnTo>
                  <a:lnTo>
                    <a:pt x="3091" y="1507"/>
                  </a:lnTo>
                  <a:lnTo>
                    <a:pt x="3102" y="1536"/>
                  </a:lnTo>
                  <a:lnTo>
                    <a:pt x="3117" y="1562"/>
                  </a:lnTo>
                  <a:lnTo>
                    <a:pt x="3132" y="1586"/>
                  </a:lnTo>
                  <a:lnTo>
                    <a:pt x="3149" y="1607"/>
                  </a:lnTo>
                  <a:lnTo>
                    <a:pt x="3169" y="1626"/>
                  </a:lnTo>
                  <a:lnTo>
                    <a:pt x="3189" y="1643"/>
                  </a:lnTo>
                  <a:lnTo>
                    <a:pt x="3211" y="1656"/>
                  </a:lnTo>
                  <a:lnTo>
                    <a:pt x="3236" y="1667"/>
                  </a:lnTo>
                  <a:lnTo>
                    <a:pt x="3261" y="1675"/>
                  </a:lnTo>
                  <a:lnTo>
                    <a:pt x="3288" y="1679"/>
                  </a:lnTo>
                  <a:lnTo>
                    <a:pt x="3317" y="1680"/>
                  </a:lnTo>
                  <a:lnTo>
                    <a:pt x="3343" y="1679"/>
                  </a:lnTo>
                  <a:lnTo>
                    <a:pt x="3369" y="1675"/>
                  </a:lnTo>
                  <a:lnTo>
                    <a:pt x="3393" y="1667"/>
                  </a:lnTo>
                  <a:lnTo>
                    <a:pt x="3417" y="1657"/>
                  </a:lnTo>
                  <a:lnTo>
                    <a:pt x="3438" y="1644"/>
                  </a:lnTo>
                  <a:lnTo>
                    <a:pt x="3458" y="1628"/>
                  </a:lnTo>
                  <a:lnTo>
                    <a:pt x="3476" y="1609"/>
                  </a:lnTo>
                  <a:lnTo>
                    <a:pt x="3491" y="1588"/>
                  </a:lnTo>
                  <a:lnTo>
                    <a:pt x="3506" y="1565"/>
                  </a:lnTo>
                  <a:lnTo>
                    <a:pt x="3519" y="1539"/>
                  </a:lnTo>
                  <a:lnTo>
                    <a:pt x="3529" y="1512"/>
                  </a:lnTo>
                  <a:lnTo>
                    <a:pt x="3538" y="1480"/>
                  </a:lnTo>
                  <a:lnTo>
                    <a:pt x="3546" y="1448"/>
                  </a:lnTo>
                  <a:lnTo>
                    <a:pt x="3550" y="1414"/>
                  </a:lnTo>
                  <a:lnTo>
                    <a:pt x="3553" y="1377"/>
                  </a:lnTo>
                  <a:lnTo>
                    <a:pt x="3554" y="1338"/>
                  </a:lnTo>
                  <a:close/>
                  <a:moveTo>
                    <a:pt x="3897" y="1340"/>
                  </a:moveTo>
                  <a:lnTo>
                    <a:pt x="3893" y="1408"/>
                  </a:lnTo>
                  <a:lnTo>
                    <a:pt x="3885" y="1474"/>
                  </a:lnTo>
                  <a:lnTo>
                    <a:pt x="3880" y="1505"/>
                  </a:lnTo>
                  <a:lnTo>
                    <a:pt x="3872" y="1536"/>
                  </a:lnTo>
                  <a:lnTo>
                    <a:pt x="3863" y="1565"/>
                  </a:lnTo>
                  <a:lnTo>
                    <a:pt x="3853" y="1595"/>
                  </a:lnTo>
                  <a:lnTo>
                    <a:pt x="3843" y="1623"/>
                  </a:lnTo>
                  <a:lnTo>
                    <a:pt x="3831" y="1649"/>
                  </a:lnTo>
                  <a:lnTo>
                    <a:pt x="3803" y="1701"/>
                  </a:lnTo>
                  <a:lnTo>
                    <a:pt x="3771" y="1749"/>
                  </a:lnTo>
                  <a:lnTo>
                    <a:pt x="3753" y="1773"/>
                  </a:lnTo>
                  <a:lnTo>
                    <a:pt x="3734" y="1794"/>
                  </a:lnTo>
                  <a:lnTo>
                    <a:pt x="3716" y="1814"/>
                  </a:lnTo>
                  <a:lnTo>
                    <a:pt x="3694" y="1834"/>
                  </a:lnTo>
                  <a:lnTo>
                    <a:pt x="3650" y="1868"/>
                  </a:lnTo>
                  <a:lnTo>
                    <a:pt x="3627" y="1884"/>
                  </a:lnTo>
                  <a:lnTo>
                    <a:pt x="3603" y="1898"/>
                  </a:lnTo>
                  <a:lnTo>
                    <a:pt x="3552" y="1924"/>
                  </a:lnTo>
                  <a:lnTo>
                    <a:pt x="3526" y="1935"/>
                  </a:lnTo>
                  <a:lnTo>
                    <a:pt x="3498" y="1944"/>
                  </a:lnTo>
                  <a:lnTo>
                    <a:pt x="3470" y="1951"/>
                  </a:lnTo>
                  <a:lnTo>
                    <a:pt x="3441" y="1958"/>
                  </a:lnTo>
                  <a:lnTo>
                    <a:pt x="3411" y="1964"/>
                  </a:lnTo>
                  <a:lnTo>
                    <a:pt x="3381" y="1967"/>
                  </a:lnTo>
                  <a:lnTo>
                    <a:pt x="3319" y="1970"/>
                  </a:lnTo>
                  <a:lnTo>
                    <a:pt x="3285" y="1969"/>
                  </a:lnTo>
                  <a:lnTo>
                    <a:pt x="3252" y="1967"/>
                  </a:lnTo>
                  <a:lnTo>
                    <a:pt x="3220" y="1964"/>
                  </a:lnTo>
                  <a:lnTo>
                    <a:pt x="3188" y="1959"/>
                  </a:lnTo>
                  <a:lnTo>
                    <a:pt x="3158" y="1953"/>
                  </a:lnTo>
                  <a:lnTo>
                    <a:pt x="3128" y="1945"/>
                  </a:lnTo>
                  <a:lnTo>
                    <a:pt x="3071" y="1926"/>
                  </a:lnTo>
                  <a:lnTo>
                    <a:pt x="3018" y="1901"/>
                  </a:lnTo>
                  <a:lnTo>
                    <a:pt x="2993" y="1887"/>
                  </a:lnTo>
                  <a:lnTo>
                    <a:pt x="2969" y="1871"/>
                  </a:lnTo>
                  <a:lnTo>
                    <a:pt x="2924" y="1837"/>
                  </a:lnTo>
                  <a:lnTo>
                    <a:pt x="2882" y="1798"/>
                  </a:lnTo>
                  <a:lnTo>
                    <a:pt x="2864" y="1777"/>
                  </a:lnTo>
                  <a:lnTo>
                    <a:pt x="2846" y="1755"/>
                  </a:lnTo>
                  <a:lnTo>
                    <a:pt x="2814" y="1707"/>
                  </a:lnTo>
                  <a:lnTo>
                    <a:pt x="2786" y="1655"/>
                  </a:lnTo>
                  <a:lnTo>
                    <a:pt x="2775" y="1627"/>
                  </a:lnTo>
                  <a:lnTo>
                    <a:pt x="2764" y="1598"/>
                  </a:lnTo>
                  <a:lnTo>
                    <a:pt x="2754" y="1569"/>
                  </a:lnTo>
                  <a:lnTo>
                    <a:pt x="2746" y="1538"/>
                  </a:lnTo>
                  <a:lnTo>
                    <a:pt x="2738" y="1507"/>
                  </a:lnTo>
                  <a:lnTo>
                    <a:pt x="2732" y="1474"/>
                  </a:lnTo>
                  <a:lnTo>
                    <a:pt x="2728" y="1440"/>
                  </a:lnTo>
                  <a:lnTo>
                    <a:pt x="2725" y="1407"/>
                  </a:lnTo>
                  <a:lnTo>
                    <a:pt x="2722" y="1372"/>
                  </a:lnTo>
                  <a:lnTo>
                    <a:pt x="2721" y="1336"/>
                  </a:lnTo>
                  <a:lnTo>
                    <a:pt x="2725" y="1271"/>
                  </a:lnTo>
                  <a:lnTo>
                    <a:pt x="2732" y="1207"/>
                  </a:lnTo>
                  <a:lnTo>
                    <a:pt x="2738" y="1177"/>
                  </a:lnTo>
                  <a:lnTo>
                    <a:pt x="2746" y="1147"/>
                  </a:lnTo>
                  <a:lnTo>
                    <a:pt x="2764" y="1089"/>
                  </a:lnTo>
                  <a:lnTo>
                    <a:pt x="2775" y="1062"/>
                  </a:lnTo>
                  <a:lnTo>
                    <a:pt x="2787" y="1035"/>
                  </a:lnTo>
                  <a:lnTo>
                    <a:pt x="2815" y="983"/>
                  </a:lnTo>
                  <a:lnTo>
                    <a:pt x="2847" y="936"/>
                  </a:lnTo>
                  <a:lnTo>
                    <a:pt x="2865" y="913"/>
                  </a:lnTo>
                  <a:lnTo>
                    <a:pt x="2884" y="892"/>
                  </a:lnTo>
                  <a:lnTo>
                    <a:pt x="2925" y="852"/>
                  </a:lnTo>
                  <a:lnTo>
                    <a:pt x="2969" y="817"/>
                  </a:lnTo>
                  <a:lnTo>
                    <a:pt x="3018" y="786"/>
                  </a:lnTo>
                  <a:lnTo>
                    <a:pt x="3070" y="761"/>
                  </a:lnTo>
                  <a:lnTo>
                    <a:pt x="3098" y="750"/>
                  </a:lnTo>
                  <a:lnTo>
                    <a:pt x="3126" y="741"/>
                  </a:lnTo>
                  <a:lnTo>
                    <a:pt x="3155" y="732"/>
                  </a:lnTo>
                  <a:lnTo>
                    <a:pt x="3185" y="725"/>
                  </a:lnTo>
                  <a:lnTo>
                    <a:pt x="3216" y="721"/>
                  </a:lnTo>
                  <a:lnTo>
                    <a:pt x="3247" y="716"/>
                  </a:lnTo>
                  <a:lnTo>
                    <a:pt x="3311" y="713"/>
                  </a:lnTo>
                  <a:lnTo>
                    <a:pt x="3379" y="716"/>
                  </a:lnTo>
                  <a:lnTo>
                    <a:pt x="3411" y="720"/>
                  </a:lnTo>
                  <a:lnTo>
                    <a:pt x="3443" y="725"/>
                  </a:lnTo>
                  <a:lnTo>
                    <a:pt x="3503" y="740"/>
                  </a:lnTo>
                  <a:lnTo>
                    <a:pt x="3559" y="760"/>
                  </a:lnTo>
                  <a:lnTo>
                    <a:pt x="3586" y="772"/>
                  </a:lnTo>
                  <a:lnTo>
                    <a:pt x="3611" y="785"/>
                  </a:lnTo>
                  <a:lnTo>
                    <a:pt x="3636" y="800"/>
                  </a:lnTo>
                  <a:lnTo>
                    <a:pt x="3660" y="815"/>
                  </a:lnTo>
                  <a:lnTo>
                    <a:pt x="3703" y="851"/>
                  </a:lnTo>
                  <a:lnTo>
                    <a:pt x="3723" y="870"/>
                  </a:lnTo>
                  <a:lnTo>
                    <a:pt x="3743" y="890"/>
                  </a:lnTo>
                  <a:lnTo>
                    <a:pt x="3778" y="934"/>
                  </a:lnTo>
                  <a:lnTo>
                    <a:pt x="3809" y="982"/>
                  </a:lnTo>
                  <a:lnTo>
                    <a:pt x="3835" y="1033"/>
                  </a:lnTo>
                  <a:lnTo>
                    <a:pt x="3857" y="1088"/>
                  </a:lnTo>
                  <a:lnTo>
                    <a:pt x="3867" y="1117"/>
                  </a:lnTo>
                  <a:lnTo>
                    <a:pt x="3874" y="1147"/>
                  </a:lnTo>
                  <a:lnTo>
                    <a:pt x="3887" y="1208"/>
                  </a:lnTo>
                  <a:lnTo>
                    <a:pt x="3894" y="1273"/>
                  </a:lnTo>
                  <a:lnTo>
                    <a:pt x="3897" y="1340"/>
                  </a:lnTo>
                  <a:close/>
                  <a:moveTo>
                    <a:pt x="4810" y="1073"/>
                  </a:moveTo>
                  <a:lnTo>
                    <a:pt x="4769" y="1056"/>
                  </a:lnTo>
                  <a:lnTo>
                    <a:pt x="4732" y="1045"/>
                  </a:lnTo>
                  <a:lnTo>
                    <a:pt x="4694" y="1039"/>
                  </a:lnTo>
                  <a:lnTo>
                    <a:pt x="4653" y="1038"/>
                  </a:lnTo>
                  <a:lnTo>
                    <a:pt x="4619" y="1039"/>
                  </a:lnTo>
                  <a:lnTo>
                    <a:pt x="4586" y="1045"/>
                  </a:lnTo>
                  <a:lnTo>
                    <a:pt x="4555" y="1053"/>
                  </a:lnTo>
                  <a:lnTo>
                    <a:pt x="4526" y="1064"/>
                  </a:lnTo>
                  <a:lnTo>
                    <a:pt x="4501" y="1078"/>
                  </a:lnTo>
                  <a:lnTo>
                    <a:pt x="4476" y="1095"/>
                  </a:lnTo>
                  <a:lnTo>
                    <a:pt x="4453" y="1115"/>
                  </a:lnTo>
                  <a:lnTo>
                    <a:pt x="4433" y="1137"/>
                  </a:lnTo>
                  <a:lnTo>
                    <a:pt x="4415" y="1163"/>
                  </a:lnTo>
                  <a:lnTo>
                    <a:pt x="4400" y="1191"/>
                  </a:lnTo>
                  <a:lnTo>
                    <a:pt x="4386" y="1222"/>
                  </a:lnTo>
                  <a:lnTo>
                    <a:pt x="4375" y="1254"/>
                  </a:lnTo>
                  <a:lnTo>
                    <a:pt x="4366" y="1289"/>
                  </a:lnTo>
                  <a:lnTo>
                    <a:pt x="4361" y="1327"/>
                  </a:lnTo>
                  <a:lnTo>
                    <a:pt x="4356" y="1367"/>
                  </a:lnTo>
                  <a:lnTo>
                    <a:pt x="4355" y="1408"/>
                  </a:lnTo>
                  <a:lnTo>
                    <a:pt x="4355" y="1938"/>
                  </a:lnTo>
                  <a:lnTo>
                    <a:pt x="4017" y="1938"/>
                  </a:lnTo>
                  <a:lnTo>
                    <a:pt x="4017" y="1342"/>
                  </a:lnTo>
                  <a:lnTo>
                    <a:pt x="4017" y="746"/>
                  </a:lnTo>
                  <a:lnTo>
                    <a:pt x="4343" y="746"/>
                  </a:lnTo>
                  <a:lnTo>
                    <a:pt x="4343" y="1017"/>
                  </a:lnTo>
                  <a:lnTo>
                    <a:pt x="4352" y="984"/>
                  </a:lnTo>
                  <a:lnTo>
                    <a:pt x="4363" y="953"/>
                  </a:lnTo>
                  <a:lnTo>
                    <a:pt x="4375" y="923"/>
                  </a:lnTo>
                  <a:lnTo>
                    <a:pt x="4391" y="895"/>
                  </a:lnTo>
                  <a:lnTo>
                    <a:pt x="4408" y="870"/>
                  </a:lnTo>
                  <a:lnTo>
                    <a:pt x="4425" y="846"/>
                  </a:lnTo>
                  <a:lnTo>
                    <a:pt x="4446" y="824"/>
                  </a:lnTo>
                  <a:lnTo>
                    <a:pt x="4468" y="805"/>
                  </a:lnTo>
                  <a:lnTo>
                    <a:pt x="4492" y="787"/>
                  </a:lnTo>
                  <a:lnTo>
                    <a:pt x="4517" y="772"/>
                  </a:lnTo>
                  <a:lnTo>
                    <a:pt x="4544" y="758"/>
                  </a:lnTo>
                  <a:lnTo>
                    <a:pt x="4573" y="748"/>
                  </a:lnTo>
                  <a:lnTo>
                    <a:pt x="4603" y="740"/>
                  </a:lnTo>
                  <a:lnTo>
                    <a:pt x="4635" y="734"/>
                  </a:lnTo>
                  <a:lnTo>
                    <a:pt x="4669" y="730"/>
                  </a:lnTo>
                  <a:lnTo>
                    <a:pt x="4703" y="728"/>
                  </a:lnTo>
                  <a:lnTo>
                    <a:pt x="4753" y="732"/>
                  </a:lnTo>
                  <a:lnTo>
                    <a:pt x="4810" y="741"/>
                  </a:lnTo>
                  <a:lnTo>
                    <a:pt x="4810" y="1073"/>
                  </a:lnTo>
                  <a:close/>
                  <a:moveTo>
                    <a:pt x="5598" y="1938"/>
                  </a:moveTo>
                  <a:lnTo>
                    <a:pt x="5598" y="1670"/>
                  </a:lnTo>
                  <a:lnTo>
                    <a:pt x="5561" y="1678"/>
                  </a:lnTo>
                  <a:lnTo>
                    <a:pt x="5526" y="1683"/>
                  </a:lnTo>
                  <a:lnTo>
                    <a:pt x="5494" y="1685"/>
                  </a:lnTo>
                  <a:lnTo>
                    <a:pt x="5458" y="1686"/>
                  </a:lnTo>
                  <a:lnTo>
                    <a:pt x="5432" y="1685"/>
                  </a:lnTo>
                  <a:lnTo>
                    <a:pt x="5406" y="1683"/>
                  </a:lnTo>
                  <a:lnTo>
                    <a:pt x="5384" y="1679"/>
                  </a:lnTo>
                  <a:lnTo>
                    <a:pt x="5364" y="1674"/>
                  </a:lnTo>
                  <a:lnTo>
                    <a:pt x="5345" y="1667"/>
                  </a:lnTo>
                  <a:lnTo>
                    <a:pt x="5328" y="1658"/>
                  </a:lnTo>
                  <a:lnTo>
                    <a:pt x="5314" y="1648"/>
                  </a:lnTo>
                  <a:lnTo>
                    <a:pt x="5302" y="1636"/>
                  </a:lnTo>
                  <a:lnTo>
                    <a:pt x="5292" y="1622"/>
                  </a:lnTo>
                  <a:lnTo>
                    <a:pt x="5282" y="1605"/>
                  </a:lnTo>
                  <a:lnTo>
                    <a:pt x="5275" y="1587"/>
                  </a:lnTo>
                  <a:lnTo>
                    <a:pt x="5268" y="1566"/>
                  </a:lnTo>
                  <a:lnTo>
                    <a:pt x="5262" y="1517"/>
                  </a:lnTo>
                  <a:lnTo>
                    <a:pt x="5258" y="1459"/>
                  </a:lnTo>
                  <a:lnTo>
                    <a:pt x="5258" y="1026"/>
                  </a:lnTo>
                  <a:lnTo>
                    <a:pt x="5583" y="1026"/>
                  </a:lnTo>
                  <a:lnTo>
                    <a:pt x="5583" y="755"/>
                  </a:lnTo>
                  <a:lnTo>
                    <a:pt x="5258" y="755"/>
                  </a:lnTo>
                  <a:lnTo>
                    <a:pt x="5258" y="365"/>
                  </a:lnTo>
                  <a:lnTo>
                    <a:pt x="4920" y="556"/>
                  </a:lnTo>
                  <a:lnTo>
                    <a:pt x="4920" y="1037"/>
                  </a:lnTo>
                  <a:lnTo>
                    <a:pt x="4920" y="1519"/>
                  </a:lnTo>
                  <a:lnTo>
                    <a:pt x="4921" y="1575"/>
                  </a:lnTo>
                  <a:lnTo>
                    <a:pt x="4926" y="1627"/>
                  </a:lnTo>
                  <a:lnTo>
                    <a:pt x="4935" y="1674"/>
                  </a:lnTo>
                  <a:lnTo>
                    <a:pt x="4946" y="1718"/>
                  </a:lnTo>
                  <a:lnTo>
                    <a:pt x="4962" y="1758"/>
                  </a:lnTo>
                  <a:lnTo>
                    <a:pt x="4981" y="1794"/>
                  </a:lnTo>
                  <a:lnTo>
                    <a:pt x="5003" y="1826"/>
                  </a:lnTo>
                  <a:lnTo>
                    <a:pt x="5030" y="1855"/>
                  </a:lnTo>
                  <a:lnTo>
                    <a:pt x="5044" y="1868"/>
                  </a:lnTo>
                  <a:lnTo>
                    <a:pt x="5060" y="1880"/>
                  </a:lnTo>
                  <a:lnTo>
                    <a:pt x="5093" y="1901"/>
                  </a:lnTo>
                  <a:lnTo>
                    <a:pt x="5130" y="1920"/>
                  </a:lnTo>
                  <a:lnTo>
                    <a:pt x="5171" y="1935"/>
                  </a:lnTo>
                  <a:lnTo>
                    <a:pt x="5216" y="1946"/>
                  </a:lnTo>
                  <a:lnTo>
                    <a:pt x="5265" y="1954"/>
                  </a:lnTo>
                  <a:lnTo>
                    <a:pt x="5317" y="1959"/>
                  </a:lnTo>
                  <a:lnTo>
                    <a:pt x="5374" y="1960"/>
                  </a:lnTo>
                  <a:lnTo>
                    <a:pt x="5431" y="1959"/>
                  </a:lnTo>
                  <a:lnTo>
                    <a:pt x="5484" y="1956"/>
                  </a:lnTo>
                  <a:lnTo>
                    <a:pt x="5538" y="1949"/>
                  </a:lnTo>
                  <a:lnTo>
                    <a:pt x="5598" y="1938"/>
                  </a:lnTo>
                  <a:close/>
                  <a:moveTo>
                    <a:pt x="6796" y="1358"/>
                  </a:moveTo>
                  <a:lnTo>
                    <a:pt x="6796" y="746"/>
                  </a:lnTo>
                  <a:lnTo>
                    <a:pt x="6457" y="746"/>
                  </a:lnTo>
                  <a:lnTo>
                    <a:pt x="6457" y="1358"/>
                  </a:lnTo>
                  <a:lnTo>
                    <a:pt x="6455" y="1440"/>
                  </a:lnTo>
                  <a:lnTo>
                    <a:pt x="6451" y="1476"/>
                  </a:lnTo>
                  <a:lnTo>
                    <a:pt x="6447" y="1508"/>
                  </a:lnTo>
                  <a:lnTo>
                    <a:pt x="6441" y="1538"/>
                  </a:lnTo>
                  <a:lnTo>
                    <a:pt x="6435" y="1564"/>
                  </a:lnTo>
                  <a:lnTo>
                    <a:pt x="6426" y="1587"/>
                  </a:lnTo>
                  <a:lnTo>
                    <a:pt x="6415" y="1607"/>
                  </a:lnTo>
                  <a:lnTo>
                    <a:pt x="6402" y="1624"/>
                  </a:lnTo>
                  <a:lnTo>
                    <a:pt x="6388" y="1639"/>
                  </a:lnTo>
                  <a:lnTo>
                    <a:pt x="6373" y="1650"/>
                  </a:lnTo>
                  <a:lnTo>
                    <a:pt x="6355" y="1660"/>
                  </a:lnTo>
                  <a:lnTo>
                    <a:pt x="6334" y="1668"/>
                  </a:lnTo>
                  <a:lnTo>
                    <a:pt x="6311" y="1673"/>
                  </a:lnTo>
                  <a:lnTo>
                    <a:pt x="6287" y="1676"/>
                  </a:lnTo>
                  <a:lnTo>
                    <a:pt x="6259" y="1677"/>
                  </a:lnTo>
                  <a:lnTo>
                    <a:pt x="6231" y="1676"/>
                  </a:lnTo>
                  <a:lnTo>
                    <a:pt x="6206" y="1673"/>
                  </a:lnTo>
                  <a:lnTo>
                    <a:pt x="6181" y="1668"/>
                  </a:lnTo>
                  <a:lnTo>
                    <a:pt x="6160" y="1660"/>
                  </a:lnTo>
                  <a:lnTo>
                    <a:pt x="6141" y="1652"/>
                  </a:lnTo>
                  <a:lnTo>
                    <a:pt x="6124" y="1640"/>
                  </a:lnTo>
                  <a:lnTo>
                    <a:pt x="6109" y="1626"/>
                  </a:lnTo>
                  <a:lnTo>
                    <a:pt x="6096" y="1609"/>
                  </a:lnTo>
                  <a:lnTo>
                    <a:pt x="6085" y="1590"/>
                  </a:lnTo>
                  <a:lnTo>
                    <a:pt x="6075" y="1569"/>
                  </a:lnTo>
                  <a:lnTo>
                    <a:pt x="6067" y="1545"/>
                  </a:lnTo>
                  <a:lnTo>
                    <a:pt x="6060" y="1517"/>
                  </a:lnTo>
                  <a:lnTo>
                    <a:pt x="6056" y="1487"/>
                  </a:lnTo>
                  <a:lnTo>
                    <a:pt x="6053" y="1454"/>
                  </a:lnTo>
                  <a:lnTo>
                    <a:pt x="6050" y="1417"/>
                  </a:lnTo>
                  <a:lnTo>
                    <a:pt x="6049" y="1378"/>
                  </a:lnTo>
                  <a:lnTo>
                    <a:pt x="6049" y="746"/>
                  </a:lnTo>
                  <a:lnTo>
                    <a:pt x="5710" y="746"/>
                  </a:lnTo>
                  <a:lnTo>
                    <a:pt x="5710" y="1373"/>
                  </a:lnTo>
                  <a:lnTo>
                    <a:pt x="5713" y="1465"/>
                  </a:lnTo>
                  <a:lnTo>
                    <a:pt x="5715" y="1505"/>
                  </a:lnTo>
                  <a:lnTo>
                    <a:pt x="5718" y="1544"/>
                  </a:lnTo>
                  <a:lnTo>
                    <a:pt x="5729" y="1612"/>
                  </a:lnTo>
                  <a:lnTo>
                    <a:pt x="5737" y="1643"/>
                  </a:lnTo>
                  <a:lnTo>
                    <a:pt x="5746" y="1671"/>
                  </a:lnTo>
                  <a:lnTo>
                    <a:pt x="5756" y="1698"/>
                  </a:lnTo>
                  <a:lnTo>
                    <a:pt x="5768" y="1723"/>
                  </a:lnTo>
                  <a:lnTo>
                    <a:pt x="5780" y="1747"/>
                  </a:lnTo>
                  <a:lnTo>
                    <a:pt x="5796" y="1769"/>
                  </a:lnTo>
                  <a:lnTo>
                    <a:pt x="5812" y="1790"/>
                  </a:lnTo>
                  <a:lnTo>
                    <a:pt x="5830" y="1810"/>
                  </a:lnTo>
                  <a:lnTo>
                    <a:pt x="5849" y="1829"/>
                  </a:lnTo>
                  <a:lnTo>
                    <a:pt x="5872" y="1848"/>
                  </a:lnTo>
                  <a:lnTo>
                    <a:pt x="5889" y="1863"/>
                  </a:lnTo>
                  <a:lnTo>
                    <a:pt x="5908" y="1876"/>
                  </a:lnTo>
                  <a:lnTo>
                    <a:pt x="5928" y="1888"/>
                  </a:lnTo>
                  <a:lnTo>
                    <a:pt x="5949" y="1899"/>
                  </a:lnTo>
                  <a:lnTo>
                    <a:pt x="5972" y="1909"/>
                  </a:lnTo>
                  <a:lnTo>
                    <a:pt x="5994" y="1919"/>
                  </a:lnTo>
                  <a:lnTo>
                    <a:pt x="6040" y="1936"/>
                  </a:lnTo>
                  <a:lnTo>
                    <a:pt x="6091" y="1949"/>
                  </a:lnTo>
                  <a:lnTo>
                    <a:pt x="6144" y="1958"/>
                  </a:lnTo>
                  <a:lnTo>
                    <a:pt x="6199" y="1964"/>
                  </a:lnTo>
                  <a:lnTo>
                    <a:pt x="6257" y="1966"/>
                  </a:lnTo>
                  <a:lnTo>
                    <a:pt x="6325" y="1963"/>
                  </a:lnTo>
                  <a:lnTo>
                    <a:pt x="6388" y="1955"/>
                  </a:lnTo>
                  <a:lnTo>
                    <a:pt x="6419" y="1948"/>
                  </a:lnTo>
                  <a:lnTo>
                    <a:pt x="6448" y="1940"/>
                  </a:lnTo>
                  <a:lnTo>
                    <a:pt x="6505" y="1921"/>
                  </a:lnTo>
                  <a:lnTo>
                    <a:pt x="6531" y="1910"/>
                  </a:lnTo>
                  <a:lnTo>
                    <a:pt x="6557" y="1898"/>
                  </a:lnTo>
                  <a:lnTo>
                    <a:pt x="6605" y="1869"/>
                  </a:lnTo>
                  <a:lnTo>
                    <a:pt x="6626" y="1853"/>
                  </a:lnTo>
                  <a:lnTo>
                    <a:pt x="6647" y="1835"/>
                  </a:lnTo>
                  <a:lnTo>
                    <a:pt x="6667" y="1816"/>
                  </a:lnTo>
                  <a:lnTo>
                    <a:pt x="6685" y="1796"/>
                  </a:lnTo>
                  <a:lnTo>
                    <a:pt x="6699" y="1779"/>
                  </a:lnTo>
                  <a:lnTo>
                    <a:pt x="6712" y="1760"/>
                  </a:lnTo>
                  <a:lnTo>
                    <a:pt x="6735" y="1721"/>
                  </a:lnTo>
                  <a:lnTo>
                    <a:pt x="6755" y="1678"/>
                  </a:lnTo>
                  <a:lnTo>
                    <a:pt x="6769" y="1628"/>
                  </a:lnTo>
                  <a:lnTo>
                    <a:pt x="6781" y="1573"/>
                  </a:lnTo>
                  <a:lnTo>
                    <a:pt x="6786" y="1542"/>
                  </a:lnTo>
                  <a:lnTo>
                    <a:pt x="6790" y="1509"/>
                  </a:lnTo>
                  <a:lnTo>
                    <a:pt x="6795" y="1438"/>
                  </a:lnTo>
                  <a:lnTo>
                    <a:pt x="6796" y="1358"/>
                  </a:lnTo>
                  <a:close/>
                  <a:moveTo>
                    <a:pt x="8720" y="1938"/>
                  </a:moveTo>
                  <a:lnTo>
                    <a:pt x="8720" y="1254"/>
                  </a:lnTo>
                  <a:lnTo>
                    <a:pt x="8718" y="1185"/>
                  </a:lnTo>
                  <a:lnTo>
                    <a:pt x="8716" y="1124"/>
                  </a:lnTo>
                  <a:lnTo>
                    <a:pt x="8712" y="1072"/>
                  </a:lnTo>
                  <a:lnTo>
                    <a:pt x="8706" y="1025"/>
                  </a:lnTo>
                  <a:lnTo>
                    <a:pt x="8698" y="985"/>
                  </a:lnTo>
                  <a:lnTo>
                    <a:pt x="8688" y="950"/>
                  </a:lnTo>
                  <a:lnTo>
                    <a:pt x="8676" y="918"/>
                  </a:lnTo>
                  <a:lnTo>
                    <a:pt x="8662" y="891"/>
                  </a:lnTo>
                  <a:lnTo>
                    <a:pt x="8650" y="871"/>
                  </a:lnTo>
                  <a:lnTo>
                    <a:pt x="8636" y="853"/>
                  </a:lnTo>
                  <a:lnTo>
                    <a:pt x="8622" y="836"/>
                  </a:lnTo>
                  <a:lnTo>
                    <a:pt x="8605" y="820"/>
                  </a:lnTo>
                  <a:lnTo>
                    <a:pt x="8589" y="805"/>
                  </a:lnTo>
                  <a:lnTo>
                    <a:pt x="8570" y="791"/>
                  </a:lnTo>
                  <a:lnTo>
                    <a:pt x="8529" y="766"/>
                  </a:lnTo>
                  <a:lnTo>
                    <a:pt x="8506" y="756"/>
                  </a:lnTo>
                  <a:lnTo>
                    <a:pt x="8484" y="747"/>
                  </a:lnTo>
                  <a:lnTo>
                    <a:pt x="8436" y="733"/>
                  </a:lnTo>
                  <a:lnTo>
                    <a:pt x="8385" y="724"/>
                  </a:lnTo>
                  <a:lnTo>
                    <a:pt x="8332" y="721"/>
                  </a:lnTo>
                  <a:lnTo>
                    <a:pt x="8300" y="722"/>
                  </a:lnTo>
                  <a:lnTo>
                    <a:pt x="8269" y="725"/>
                  </a:lnTo>
                  <a:lnTo>
                    <a:pt x="8239" y="731"/>
                  </a:lnTo>
                  <a:lnTo>
                    <a:pt x="8210" y="737"/>
                  </a:lnTo>
                  <a:lnTo>
                    <a:pt x="8182" y="747"/>
                  </a:lnTo>
                  <a:lnTo>
                    <a:pt x="8155" y="758"/>
                  </a:lnTo>
                  <a:lnTo>
                    <a:pt x="8130" y="772"/>
                  </a:lnTo>
                  <a:lnTo>
                    <a:pt x="8106" y="788"/>
                  </a:lnTo>
                  <a:lnTo>
                    <a:pt x="8083" y="806"/>
                  </a:lnTo>
                  <a:lnTo>
                    <a:pt x="8061" y="827"/>
                  </a:lnTo>
                  <a:lnTo>
                    <a:pt x="8040" y="850"/>
                  </a:lnTo>
                  <a:lnTo>
                    <a:pt x="8021" y="874"/>
                  </a:lnTo>
                  <a:lnTo>
                    <a:pt x="8002" y="902"/>
                  </a:lnTo>
                  <a:lnTo>
                    <a:pt x="7984" y="931"/>
                  </a:lnTo>
                  <a:lnTo>
                    <a:pt x="7968" y="963"/>
                  </a:lnTo>
                  <a:lnTo>
                    <a:pt x="7951" y="997"/>
                  </a:lnTo>
                  <a:lnTo>
                    <a:pt x="7942" y="964"/>
                  </a:lnTo>
                  <a:lnTo>
                    <a:pt x="7932" y="933"/>
                  </a:lnTo>
                  <a:lnTo>
                    <a:pt x="7908" y="876"/>
                  </a:lnTo>
                  <a:lnTo>
                    <a:pt x="7893" y="852"/>
                  </a:lnTo>
                  <a:lnTo>
                    <a:pt x="7885" y="840"/>
                  </a:lnTo>
                  <a:lnTo>
                    <a:pt x="7877" y="828"/>
                  </a:lnTo>
                  <a:lnTo>
                    <a:pt x="7869" y="818"/>
                  </a:lnTo>
                  <a:lnTo>
                    <a:pt x="7859" y="808"/>
                  </a:lnTo>
                  <a:lnTo>
                    <a:pt x="7840" y="791"/>
                  </a:lnTo>
                  <a:lnTo>
                    <a:pt x="7820" y="774"/>
                  </a:lnTo>
                  <a:lnTo>
                    <a:pt x="7798" y="760"/>
                  </a:lnTo>
                  <a:lnTo>
                    <a:pt x="7773" y="748"/>
                  </a:lnTo>
                  <a:lnTo>
                    <a:pt x="7748" y="738"/>
                  </a:lnTo>
                  <a:lnTo>
                    <a:pt x="7721" y="731"/>
                  </a:lnTo>
                  <a:lnTo>
                    <a:pt x="7692" y="725"/>
                  </a:lnTo>
                  <a:lnTo>
                    <a:pt x="7662" y="722"/>
                  </a:lnTo>
                  <a:lnTo>
                    <a:pt x="7630" y="721"/>
                  </a:lnTo>
                  <a:lnTo>
                    <a:pt x="7598" y="722"/>
                  </a:lnTo>
                  <a:lnTo>
                    <a:pt x="7567" y="725"/>
                  </a:lnTo>
                  <a:lnTo>
                    <a:pt x="7537" y="730"/>
                  </a:lnTo>
                  <a:lnTo>
                    <a:pt x="7509" y="737"/>
                  </a:lnTo>
                  <a:lnTo>
                    <a:pt x="7481" y="746"/>
                  </a:lnTo>
                  <a:lnTo>
                    <a:pt x="7456" y="757"/>
                  </a:lnTo>
                  <a:lnTo>
                    <a:pt x="7431" y="771"/>
                  </a:lnTo>
                  <a:lnTo>
                    <a:pt x="7408" y="786"/>
                  </a:lnTo>
                  <a:lnTo>
                    <a:pt x="7386" y="804"/>
                  </a:lnTo>
                  <a:lnTo>
                    <a:pt x="7364" y="824"/>
                  </a:lnTo>
                  <a:lnTo>
                    <a:pt x="7344" y="846"/>
                  </a:lnTo>
                  <a:lnTo>
                    <a:pt x="7324" y="871"/>
                  </a:lnTo>
                  <a:lnTo>
                    <a:pt x="7307" y="896"/>
                  </a:lnTo>
                  <a:lnTo>
                    <a:pt x="7288" y="925"/>
                  </a:lnTo>
                  <a:lnTo>
                    <a:pt x="7270" y="956"/>
                  </a:lnTo>
                  <a:lnTo>
                    <a:pt x="7253" y="990"/>
                  </a:lnTo>
                  <a:lnTo>
                    <a:pt x="7253" y="746"/>
                  </a:lnTo>
                  <a:lnTo>
                    <a:pt x="6927" y="746"/>
                  </a:lnTo>
                  <a:lnTo>
                    <a:pt x="6927" y="1342"/>
                  </a:lnTo>
                  <a:lnTo>
                    <a:pt x="6927" y="1938"/>
                  </a:lnTo>
                  <a:lnTo>
                    <a:pt x="7266" y="1938"/>
                  </a:lnTo>
                  <a:lnTo>
                    <a:pt x="7266" y="1384"/>
                  </a:lnTo>
                  <a:lnTo>
                    <a:pt x="7267" y="1329"/>
                  </a:lnTo>
                  <a:lnTo>
                    <a:pt x="7270" y="1283"/>
                  </a:lnTo>
                  <a:lnTo>
                    <a:pt x="7276" y="1242"/>
                  </a:lnTo>
                  <a:lnTo>
                    <a:pt x="7283" y="1207"/>
                  </a:lnTo>
                  <a:lnTo>
                    <a:pt x="7290" y="1187"/>
                  </a:lnTo>
                  <a:lnTo>
                    <a:pt x="7297" y="1169"/>
                  </a:lnTo>
                  <a:lnTo>
                    <a:pt x="7314" y="1135"/>
                  </a:lnTo>
                  <a:lnTo>
                    <a:pt x="7323" y="1118"/>
                  </a:lnTo>
                  <a:lnTo>
                    <a:pt x="7334" y="1104"/>
                  </a:lnTo>
                  <a:lnTo>
                    <a:pt x="7359" y="1078"/>
                  </a:lnTo>
                  <a:lnTo>
                    <a:pt x="7386" y="1058"/>
                  </a:lnTo>
                  <a:lnTo>
                    <a:pt x="7416" y="1043"/>
                  </a:lnTo>
                  <a:lnTo>
                    <a:pt x="7431" y="1037"/>
                  </a:lnTo>
                  <a:lnTo>
                    <a:pt x="7447" y="1034"/>
                  </a:lnTo>
                  <a:lnTo>
                    <a:pt x="7481" y="1031"/>
                  </a:lnTo>
                  <a:lnTo>
                    <a:pt x="7506" y="1032"/>
                  </a:lnTo>
                  <a:lnTo>
                    <a:pt x="7530" y="1037"/>
                  </a:lnTo>
                  <a:lnTo>
                    <a:pt x="7551" y="1045"/>
                  </a:lnTo>
                  <a:lnTo>
                    <a:pt x="7570" y="1056"/>
                  </a:lnTo>
                  <a:lnTo>
                    <a:pt x="7588" y="1069"/>
                  </a:lnTo>
                  <a:lnTo>
                    <a:pt x="7602" y="1086"/>
                  </a:lnTo>
                  <a:lnTo>
                    <a:pt x="7615" y="1106"/>
                  </a:lnTo>
                  <a:lnTo>
                    <a:pt x="7621" y="1116"/>
                  </a:lnTo>
                  <a:lnTo>
                    <a:pt x="7625" y="1127"/>
                  </a:lnTo>
                  <a:lnTo>
                    <a:pt x="7638" y="1165"/>
                  </a:lnTo>
                  <a:lnTo>
                    <a:pt x="7645" y="1211"/>
                  </a:lnTo>
                  <a:lnTo>
                    <a:pt x="7650" y="1268"/>
                  </a:lnTo>
                  <a:lnTo>
                    <a:pt x="7651" y="1342"/>
                  </a:lnTo>
                  <a:lnTo>
                    <a:pt x="7651" y="1938"/>
                  </a:lnTo>
                  <a:lnTo>
                    <a:pt x="7993" y="1938"/>
                  </a:lnTo>
                  <a:lnTo>
                    <a:pt x="7993" y="1364"/>
                  </a:lnTo>
                  <a:lnTo>
                    <a:pt x="7993" y="1325"/>
                  </a:lnTo>
                  <a:lnTo>
                    <a:pt x="7996" y="1287"/>
                  </a:lnTo>
                  <a:lnTo>
                    <a:pt x="8000" y="1253"/>
                  </a:lnTo>
                  <a:lnTo>
                    <a:pt x="8006" y="1221"/>
                  </a:lnTo>
                  <a:lnTo>
                    <a:pt x="8014" y="1191"/>
                  </a:lnTo>
                  <a:lnTo>
                    <a:pt x="8023" y="1164"/>
                  </a:lnTo>
                  <a:lnTo>
                    <a:pt x="8034" y="1138"/>
                  </a:lnTo>
                  <a:lnTo>
                    <a:pt x="8046" y="1116"/>
                  </a:lnTo>
                  <a:lnTo>
                    <a:pt x="8061" y="1096"/>
                  </a:lnTo>
                  <a:lnTo>
                    <a:pt x="8078" y="1079"/>
                  </a:lnTo>
                  <a:lnTo>
                    <a:pt x="8095" y="1064"/>
                  </a:lnTo>
                  <a:lnTo>
                    <a:pt x="8114" y="1052"/>
                  </a:lnTo>
                  <a:lnTo>
                    <a:pt x="8135" y="1043"/>
                  </a:lnTo>
                  <a:lnTo>
                    <a:pt x="8158" y="1036"/>
                  </a:lnTo>
                  <a:lnTo>
                    <a:pt x="8182" y="1032"/>
                  </a:lnTo>
                  <a:lnTo>
                    <a:pt x="8208" y="1031"/>
                  </a:lnTo>
                  <a:lnTo>
                    <a:pt x="8238" y="1032"/>
                  </a:lnTo>
                  <a:lnTo>
                    <a:pt x="8264" y="1037"/>
                  </a:lnTo>
                  <a:lnTo>
                    <a:pt x="8289" y="1046"/>
                  </a:lnTo>
                  <a:lnTo>
                    <a:pt x="8310" y="1058"/>
                  </a:lnTo>
                  <a:lnTo>
                    <a:pt x="8320" y="1066"/>
                  </a:lnTo>
                  <a:lnTo>
                    <a:pt x="8329" y="1075"/>
                  </a:lnTo>
                  <a:lnTo>
                    <a:pt x="8336" y="1084"/>
                  </a:lnTo>
                  <a:lnTo>
                    <a:pt x="8343" y="1095"/>
                  </a:lnTo>
                  <a:lnTo>
                    <a:pt x="8356" y="1118"/>
                  </a:lnTo>
                  <a:lnTo>
                    <a:pt x="8365" y="1146"/>
                  </a:lnTo>
                  <a:lnTo>
                    <a:pt x="8370" y="1178"/>
                  </a:lnTo>
                  <a:lnTo>
                    <a:pt x="8374" y="1219"/>
                  </a:lnTo>
                  <a:lnTo>
                    <a:pt x="8376" y="1268"/>
                  </a:lnTo>
                  <a:lnTo>
                    <a:pt x="8377" y="1324"/>
                  </a:lnTo>
                  <a:lnTo>
                    <a:pt x="8377" y="1938"/>
                  </a:lnTo>
                  <a:lnTo>
                    <a:pt x="8720" y="1938"/>
                  </a:lnTo>
                  <a:close/>
                  <a:moveTo>
                    <a:pt x="2622" y="369"/>
                  </a:moveTo>
                  <a:lnTo>
                    <a:pt x="2584" y="372"/>
                  </a:lnTo>
                  <a:lnTo>
                    <a:pt x="2566" y="376"/>
                  </a:lnTo>
                  <a:lnTo>
                    <a:pt x="2549" y="382"/>
                  </a:lnTo>
                  <a:lnTo>
                    <a:pt x="2534" y="390"/>
                  </a:lnTo>
                  <a:lnTo>
                    <a:pt x="2519" y="399"/>
                  </a:lnTo>
                  <a:lnTo>
                    <a:pt x="2494" y="421"/>
                  </a:lnTo>
                  <a:lnTo>
                    <a:pt x="2483" y="434"/>
                  </a:lnTo>
                  <a:lnTo>
                    <a:pt x="2473" y="450"/>
                  </a:lnTo>
                  <a:lnTo>
                    <a:pt x="2465" y="465"/>
                  </a:lnTo>
                  <a:lnTo>
                    <a:pt x="2458" y="483"/>
                  </a:lnTo>
                  <a:lnTo>
                    <a:pt x="2453" y="502"/>
                  </a:lnTo>
                  <a:lnTo>
                    <a:pt x="2449" y="521"/>
                  </a:lnTo>
                  <a:lnTo>
                    <a:pt x="2446" y="542"/>
                  </a:lnTo>
                  <a:lnTo>
                    <a:pt x="2446" y="564"/>
                  </a:lnTo>
                  <a:lnTo>
                    <a:pt x="2446" y="757"/>
                  </a:lnTo>
                  <a:lnTo>
                    <a:pt x="2692" y="757"/>
                  </a:lnTo>
                  <a:lnTo>
                    <a:pt x="2692" y="1027"/>
                  </a:lnTo>
                  <a:lnTo>
                    <a:pt x="2446" y="1027"/>
                  </a:lnTo>
                  <a:lnTo>
                    <a:pt x="2446" y="1483"/>
                  </a:lnTo>
                  <a:lnTo>
                    <a:pt x="2446" y="1938"/>
                  </a:lnTo>
                  <a:lnTo>
                    <a:pt x="2107" y="1938"/>
                  </a:lnTo>
                  <a:lnTo>
                    <a:pt x="2107" y="1483"/>
                  </a:lnTo>
                  <a:lnTo>
                    <a:pt x="2107" y="1027"/>
                  </a:lnTo>
                  <a:lnTo>
                    <a:pt x="1950" y="1027"/>
                  </a:lnTo>
                  <a:lnTo>
                    <a:pt x="1950" y="757"/>
                  </a:lnTo>
                  <a:lnTo>
                    <a:pt x="2107" y="757"/>
                  </a:lnTo>
                  <a:lnTo>
                    <a:pt x="2107" y="595"/>
                  </a:lnTo>
                  <a:lnTo>
                    <a:pt x="2110" y="501"/>
                  </a:lnTo>
                  <a:lnTo>
                    <a:pt x="2115" y="454"/>
                  </a:lnTo>
                  <a:lnTo>
                    <a:pt x="2122" y="407"/>
                  </a:lnTo>
                  <a:lnTo>
                    <a:pt x="2126" y="385"/>
                  </a:lnTo>
                  <a:lnTo>
                    <a:pt x="2130" y="363"/>
                  </a:lnTo>
                  <a:lnTo>
                    <a:pt x="2144" y="320"/>
                  </a:lnTo>
                  <a:lnTo>
                    <a:pt x="2152" y="299"/>
                  </a:lnTo>
                  <a:lnTo>
                    <a:pt x="2160" y="278"/>
                  </a:lnTo>
                  <a:lnTo>
                    <a:pt x="2182" y="240"/>
                  </a:lnTo>
                  <a:lnTo>
                    <a:pt x="2207" y="203"/>
                  </a:lnTo>
                  <a:lnTo>
                    <a:pt x="2222" y="186"/>
                  </a:lnTo>
                  <a:lnTo>
                    <a:pt x="2238" y="171"/>
                  </a:lnTo>
                  <a:lnTo>
                    <a:pt x="2255" y="156"/>
                  </a:lnTo>
                  <a:lnTo>
                    <a:pt x="2274" y="142"/>
                  </a:lnTo>
                  <a:lnTo>
                    <a:pt x="2316" y="118"/>
                  </a:lnTo>
                  <a:lnTo>
                    <a:pt x="2339" y="108"/>
                  </a:lnTo>
                  <a:lnTo>
                    <a:pt x="2365" y="99"/>
                  </a:lnTo>
                  <a:lnTo>
                    <a:pt x="2391" y="90"/>
                  </a:lnTo>
                  <a:lnTo>
                    <a:pt x="2419" y="83"/>
                  </a:lnTo>
                  <a:lnTo>
                    <a:pt x="2449" y="79"/>
                  </a:lnTo>
                  <a:lnTo>
                    <a:pt x="2481" y="74"/>
                  </a:lnTo>
                  <a:lnTo>
                    <a:pt x="2516" y="72"/>
                  </a:lnTo>
                  <a:lnTo>
                    <a:pt x="2551" y="71"/>
                  </a:lnTo>
                  <a:lnTo>
                    <a:pt x="2615" y="73"/>
                  </a:lnTo>
                  <a:lnTo>
                    <a:pt x="2668" y="79"/>
                  </a:lnTo>
                  <a:lnTo>
                    <a:pt x="2721" y="88"/>
                  </a:lnTo>
                  <a:lnTo>
                    <a:pt x="2782" y="100"/>
                  </a:lnTo>
                  <a:lnTo>
                    <a:pt x="2782" y="390"/>
                  </a:lnTo>
                  <a:lnTo>
                    <a:pt x="2717" y="375"/>
                  </a:lnTo>
                  <a:lnTo>
                    <a:pt x="2676" y="371"/>
                  </a:lnTo>
                  <a:lnTo>
                    <a:pt x="2622" y="369"/>
                  </a:lnTo>
                  <a:close/>
                  <a:moveTo>
                    <a:pt x="1447" y="1554"/>
                  </a:moveTo>
                  <a:lnTo>
                    <a:pt x="1649" y="1903"/>
                  </a:lnTo>
                  <a:lnTo>
                    <a:pt x="1599" y="1930"/>
                  </a:lnTo>
                  <a:lnTo>
                    <a:pt x="1549" y="1955"/>
                  </a:lnTo>
                  <a:lnTo>
                    <a:pt x="1498" y="1976"/>
                  </a:lnTo>
                  <a:lnTo>
                    <a:pt x="1446" y="1995"/>
                  </a:lnTo>
                  <a:lnTo>
                    <a:pt x="1394" y="2010"/>
                  </a:lnTo>
                  <a:lnTo>
                    <a:pt x="1342" y="2024"/>
                  </a:lnTo>
                  <a:lnTo>
                    <a:pt x="1288" y="2035"/>
                  </a:lnTo>
                  <a:lnTo>
                    <a:pt x="1235" y="2042"/>
                  </a:lnTo>
                  <a:lnTo>
                    <a:pt x="1183" y="2047"/>
                  </a:lnTo>
                  <a:lnTo>
                    <a:pt x="1130" y="2050"/>
                  </a:lnTo>
                  <a:lnTo>
                    <a:pt x="1076" y="2050"/>
                  </a:lnTo>
                  <a:lnTo>
                    <a:pt x="1023" y="2048"/>
                  </a:lnTo>
                  <a:lnTo>
                    <a:pt x="971" y="2042"/>
                  </a:lnTo>
                  <a:lnTo>
                    <a:pt x="919" y="2036"/>
                  </a:lnTo>
                  <a:lnTo>
                    <a:pt x="866" y="2026"/>
                  </a:lnTo>
                  <a:lnTo>
                    <a:pt x="815" y="2012"/>
                  </a:lnTo>
                  <a:lnTo>
                    <a:pt x="764" y="1998"/>
                  </a:lnTo>
                  <a:lnTo>
                    <a:pt x="714" y="1981"/>
                  </a:lnTo>
                  <a:lnTo>
                    <a:pt x="690" y="1971"/>
                  </a:lnTo>
                  <a:lnTo>
                    <a:pt x="665" y="1961"/>
                  </a:lnTo>
                  <a:lnTo>
                    <a:pt x="618" y="1939"/>
                  </a:lnTo>
                  <a:lnTo>
                    <a:pt x="570" y="1915"/>
                  </a:lnTo>
                  <a:lnTo>
                    <a:pt x="524" y="1888"/>
                  </a:lnTo>
                  <a:lnTo>
                    <a:pt x="480" y="1859"/>
                  </a:lnTo>
                  <a:lnTo>
                    <a:pt x="436" y="1828"/>
                  </a:lnTo>
                  <a:lnTo>
                    <a:pt x="394" y="1795"/>
                  </a:lnTo>
                  <a:lnTo>
                    <a:pt x="353" y="1759"/>
                  </a:lnTo>
                  <a:lnTo>
                    <a:pt x="314" y="1721"/>
                  </a:lnTo>
                  <a:lnTo>
                    <a:pt x="278" y="1681"/>
                  </a:lnTo>
                  <a:lnTo>
                    <a:pt x="242" y="1639"/>
                  </a:lnTo>
                  <a:lnTo>
                    <a:pt x="209" y="1596"/>
                  </a:lnTo>
                  <a:lnTo>
                    <a:pt x="177" y="1549"/>
                  </a:lnTo>
                  <a:lnTo>
                    <a:pt x="148" y="1502"/>
                  </a:lnTo>
                  <a:lnTo>
                    <a:pt x="120" y="1452"/>
                  </a:lnTo>
                  <a:lnTo>
                    <a:pt x="97" y="1400"/>
                  </a:lnTo>
                  <a:lnTo>
                    <a:pt x="74" y="1349"/>
                  </a:lnTo>
                  <a:lnTo>
                    <a:pt x="55" y="1298"/>
                  </a:lnTo>
                  <a:lnTo>
                    <a:pt x="40" y="1246"/>
                  </a:lnTo>
                  <a:lnTo>
                    <a:pt x="27" y="1193"/>
                  </a:lnTo>
                  <a:lnTo>
                    <a:pt x="17" y="1141"/>
                  </a:lnTo>
                  <a:lnTo>
                    <a:pt x="8" y="1087"/>
                  </a:lnTo>
                  <a:lnTo>
                    <a:pt x="3" y="1034"/>
                  </a:lnTo>
                  <a:lnTo>
                    <a:pt x="0" y="981"/>
                  </a:lnTo>
                  <a:lnTo>
                    <a:pt x="0" y="928"/>
                  </a:lnTo>
                  <a:lnTo>
                    <a:pt x="2" y="875"/>
                  </a:lnTo>
                  <a:lnTo>
                    <a:pt x="8" y="822"/>
                  </a:lnTo>
                  <a:lnTo>
                    <a:pt x="15" y="770"/>
                  </a:lnTo>
                  <a:lnTo>
                    <a:pt x="25" y="718"/>
                  </a:lnTo>
                  <a:lnTo>
                    <a:pt x="38" y="667"/>
                  </a:lnTo>
                  <a:lnTo>
                    <a:pt x="52" y="616"/>
                  </a:lnTo>
                  <a:lnTo>
                    <a:pt x="70" y="566"/>
                  </a:lnTo>
                  <a:lnTo>
                    <a:pt x="79" y="542"/>
                  </a:lnTo>
                  <a:lnTo>
                    <a:pt x="89" y="517"/>
                  </a:lnTo>
                  <a:lnTo>
                    <a:pt x="111" y="470"/>
                  </a:lnTo>
                  <a:lnTo>
                    <a:pt x="135" y="422"/>
                  </a:lnTo>
                  <a:lnTo>
                    <a:pt x="162" y="376"/>
                  </a:lnTo>
                  <a:lnTo>
                    <a:pt x="191" y="332"/>
                  </a:lnTo>
                  <a:lnTo>
                    <a:pt x="222" y="289"/>
                  </a:lnTo>
                  <a:lnTo>
                    <a:pt x="255" y="246"/>
                  </a:lnTo>
                  <a:lnTo>
                    <a:pt x="291" y="205"/>
                  </a:lnTo>
                  <a:lnTo>
                    <a:pt x="329" y="166"/>
                  </a:lnTo>
                  <a:lnTo>
                    <a:pt x="369" y="130"/>
                  </a:lnTo>
                  <a:lnTo>
                    <a:pt x="411" y="94"/>
                  </a:lnTo>
                  <a:lnTo>
                    <a:pt x="455" y="61"/>
                  </a:lnTo>
                  <a:lnTo>
                    <a:pt x="501" y="29"/>
                  </a:lnTo>
                  <a:lnTo>
                    <a:pt x="550" y="0"/>
                  </a:lnTo>
                  <a:lnTo>
                    <a:pt x="825" y="74"/>
                  </a:lnTo>
                  <a:lnTo>
                    <a:pt x="751" y="349"/>
                  </a:lnTo>
                  <a:lnTo>
                    <a:pt x="720" y="369"/>
                  </a:lnTo>
                  <a:lnTo>
                    <a:pt x="690" y="389"/>
                  </a:lnTo>
                  <a:lnTo>
                    <a:pt x="661" y="411"/>
                  </a:lnTo>
                  <a:lnTo>
                    <a:pt x="634" y="434"/>
                  </a:lnTo>
                  <a:lnTo>
                    <a:pt x="608" y="459"/>
                  </a:lnTo>
                  <a:lnTo>
                    <a:pt x="584" y="484"/>
                  </a:lnTo>
                  <a:lnTo>
                    <a:pt x="540" y="537"/>
                  </a:lnTo>
                  <a:lnTo>
                    <a:pt x="520" y="565"/>
                  </a:lnTo>
                  <a:lnTo>
                    <a:pt x="502" y="594"/>
                  </a:lnTo>
                  <a:lnTo>
                    <a:pt x="485" y="624"/>
                  </a:lnTo>
                  <a:lnTo>
                    <a:pt x="470" y="655"/>
                  </a:lnTo>
                  <a:lnTo>
                    <a:pt x="455" y="686"/>
                  </a:lnTo>
                  <a:lnTo>
                    <a:pt x="443" y="717"/>
                  </a:lnTo>
                  <a:lnTo>
                    <a:pt x="424" y="782"/>
                  </a:lnTo>
                  <a:lnTo>
                    <a:pt x="410" y="848"/>
                  </a:lnTo>
                  <a:lnTo>
                    <a:pt x="403" y="915"/>
                  </a:lnTo>
                  <a:lnTo>
                    <a:pt x="401" y="948"/>
                  </a:lnTo>
                  <a:lnTo>
                    <a:pt x="401" y="982"/>
                  </a:lnTo>
                  <a:lnTo>
                    <a:pt x="403" y="1015"/>
                  </a:lnTo>
                  <a:lnTo>
                    <a:pt x="406" y="1048"/>
                  </a:lnTo>
                  <a:lnTo>
                    <a:pt x="411" y="1082"/>
                  </a:lnTo>
                  <a:lnTo>
                    <a:pt x="418" y="1115"/>
                  </a:lnTo>
                  <a:lnTo>
                    <a:pt x="426" y="1147"/>
                  </a:lnTo>
                  <a:lnTo>
                    <a:pt x="435" y="1179"/>
                  </a:lnTo>
                  <a:lnTo>
                    <a:pt x="448" y="1211"/>
                  </a:lnTo>
                  <a:lnTo>
                    <a:pt x="460" y="1242"/>
                  </a:lnTo>
                  <a:lnTo>
                    <a:pt x="475" y="1273"/>
                  </a:lnTo>
                  <a:lnTo>
                    <a:pt x="491" y="1303"/>
                  </a:lnTo>
                  <a:lnTo>
                    <a:pt x="509" y="1332"/>
                  </a:lnTo>
                  <a:lnTo>
                    <a:pt x="528" y="1359"/>
                  </a:lnTo>
                  <a:lnTo>
                    <a:pt x="570" y="1412"/>
                  </a:lnTo>
                  <a:lnTo>
                    <a:pt x="593" y="1436"/>
                  </a:lnTo>
                  <a:lnTo>
                    <a:pt x="618" y="1459"/>
                  </a:lnTo>
                  <a:lnTo>
                    <a:pt x="643" y="1482"/>
                  </a:lnTo>
                  <a:lnTo>
                    <a:pt x="669" y="1503"/>
                  </a:lnTo>
                  <a:lnTo>
                    <a:pt x="724" y="1540"/>
                  </a:lnTo>
                  <a:lnTo>
                    <a:pt x="753" y="1557"/>
                  </a:lnTo>
                  <a:lnTo>
                    <a:pt x="783" y="1573"/>
                  </a:lnTo>
                  <a:lnTo>
                    <a:pt x="844" y="1600"/>
                  </a:lnTo>
                  <a:lnTo>
                    <a:pt x="876" y="1612"/>
                  </a:lnTo>
                  <a:lnTo>
                    <a:pt x="909" y="1622"/>
                  </a:lnTo>
                  <a:lnTo>
                    <a:pt x="974" y="1636"/>
                  </a:lnTo>
                  <a:lnTo>
                    <a:pt x="1007" y="1642"/>
                  </a:lnTo>
                  <a:lnTo>
                    <a:pt x="1042" y="1645"/>
                  </a:lnTo>
                  <a:lnTo>
                    <a:pt x="1075" y="1647"/>
                  </a:lnTo>
                  <a:lnTo>
                    <a:pt x="1110" y="1647"/>
                  </a:lnTo>
                  <a:lnTo>
                    <a:pt x="1144" y="1646"/>
                  </a:lnTo>
                  <a:lnTo>
                    <a:pt x="1178" y="1643"/>
                  </a:lnTo>
                  <a:lnTo>
                    <a:pt x="1213" y="1638"/>
                  </a:lnTo>
                  <a:lnTo>
                    <a:pt x="1246" y="1632"/>
                  </a:lnTo>
                  <a:lnTo>
                    <a:pt x="1281" y="1624"/>
                  </a:lnTo>
                  <a:lnTo>
                    <a:pt x="1315" y="1614"/>
                  </a:lnTo>
                  <a:lnTo>
                    <a:pt x="1348" y="1602"/>
                  </a:lnTo>
                  <a:lnTo>
                    <a:pt x="1382" y="1587"/>
                  </a:lnTo>
                  <a:lnTo>
                    <a:pt x="1415" y="1572"/>
                  </a:lnTo>
                  <a:lnTo>
                    <a:pt x="1447" y="1554"/>
                  </a:lnTo>
                  <a:close/>
                  <a:moveTo>
                    <a:pt x="565" y="1259"/>
                  </a:moveTo>
                  <a:lnTo>
                    <a:pt x="598" y="1309"/>
                  </a:lnTo>
                  <a:lnTo>
                    <a:pt x="634" y="1356"/>
                  </a:lnTo>
                  <a:lnTo>
                    <a:pt x="676" y="1398"/>
                  </a:lnTo>
                  <a:lnTo>
                    <a:pt x="721" y="1435"/>
                  </a:lnTo>
                  <a:lnTo>
                    <a:pt x="745" y="1453"/>
                  </a:lnTo>
                  <a:lnTo>
                    <a:pt x="770" y="1468"/>
                  </a:lnTo>
                  <a:lnTo>
                    <a:pt x="821" y="1497"/>
                  </a:lnTo>
                  <a:lnTo>
                    <a:pt x="847" y="1509"/>
                  </a:lnTo>
                  <a:lnTo>
                    <a:pt x="875" y="1520"/>
                  </a:lnTo>
                  <a:lnTo>
                    <a:pt x="932" y="1539"/>
                  </a:lnTo>
                  <a:lnTo>
                    <a:pt x="990" y="1553"/>
                  </a:lnTo>
                  <a:lnTo>
                    <a:pt x="1049" y="1560"/>
                  </a:lnTo>
                  <a:lnTo>
                    <a:pt x="1108" y="1563"/>
                  </a:lnTo>
                  <a:lnTo>
                    <a:pt x="1168" y="1558"/>
                  </a:lnTo>
                  <a:lnTo>
                    <a:pt x="1228" y="1548"/>
                  </a:lnTo>
                  <a:lnTo>
                    <a:pt x="1288" y="1533"/>
                  </a:lnTo>
                  <a:lnTo>
                    <a:pt x="1347" y="1509"/>
                  </a:lnTo>
                  <a:lnTo>
                    <a:pt x="1405" y="1480"/>
                  </a:lnTo>
                  <a:lnTo>
                    <a:pt x="1460" y="1445"/>
                  </a:lnTo>
                  <a:lnTo>
                    <a:pt x="1485" y="1426"/>
                  </a:lnTo>
                  <a:lnTo>
                    <a:pt x="1508" y="1405"/>
                  </a:lnTo>
                  <a:lnTo>
                    <a:pt x="1553" y="1362"/>
                  </a:lnTo>
                  <a:lnTo>
                    <a:pt x="1592" y="1314"/>
                  </a:lnTo>
                  <a:lnTo>
                    <a:pt x="1625" y="1264"/>
                  </a:lnTo>
                  <a:lnTo>
                    <a:pt x="1639" y="1237"/>
                  </a:lnTo>
                  <a:lnTo>
                    <a:pt x="1653" y="1211"/>
                  </a:lnTo>
                  <a:lnTo>
                    <a:pt x="1665" y="1184"/>
                  </a:lnTo>
                  <a:lnTo>
                    <a:pt x="1676" y="1156"/>
                  </a:lnTo>
                  <a:lnTo>
                    <a:pt x="1693" y="1099"/>
                  </a:lnTo>
                  <a:lnTo>
                    <a:pt x="1705" y="1042"/>
                  </a:lnTo>
                  <a:lnTo>
                    <a:pt x="1709" y="1013"/>
                  </a:lnTo>
                  <a:lnTo>
                    <a:pt x="1712" y="983"/>
                  </a:lnTo>
                  <a:lnTo>
                    <a:pt x="1713" y="924"/>
                  </a:lnTo>
                  <a:lnTo>
                    <a:pt x="1708" y="866"/>
                  </a:lnTo>
                  <a:lnTo>
                    <a:pt x="1697" y="807"/>
                  </a:lnTo>
                  <a:lnTo>
                    <a:pt x="1682" y="751"/>
                  </a:lnTo>
                  <a:lnTo>
                    <a:pt x="1661" y="696"/>
                  </a:lnTo>
                  <a:lnTo>
                    <a:pt x="1634" y="643"/>
                  </a:lnTo>
                  <a:lnTo>
                    <a:pt x="1602" y="593"/>
                  </a:lnTo>
                  <a:lnTo>
                    <a:pt x="1564" y="547"/>
                  </a:lnTo>
                  <a:lnTo>
                    <a:pt x="1523" y="505"/>
                  </a:lnTo>
                  <a:lnTo>
                    <a:pt x="1501" y="485"/>
                  </a:lnTo>
                  <a:lnTo>
                    <a:pt x="1478" y="467"/>
                  </a:lnTo>
                  <a:lnTo>
                    <a:pt x="1454" y="450"/>
                  </a:lnTo>
                  <a:lnTo>
                    <a:pt x="1430" y="434"/>
                  </a:lnTo>
                  <a:lnTo>
                    <a:pt x="1378" y="405"/>
                  </a:lnTo>
                  <a:lnTo>
                    <a:pt x="1352" y="393"/>
                  </a:lnTo>
                  <a:lnTo>
                    <a:pt x="1324" y="382"/>
                  </a:lnTo>
                  <a:lnTo>
                    <a:pt x="1268" y="363"/>
                  </a:lnTo>
                  <a:lnTo>
                    <a:pt x="1240" y="356"/>
                  </a:lnTo>
                  <a:lnTo>
                    <a:pt x="1211" y="350"/>
                  </a:lnTo>
                  <a:lnTo>
                    <a:pt x="1181" y="345"/>
                  </a:lnTo>
                  <a:lnTo>
                    <a:pt x="1152" y="342"/>
                  </a:lnTo>
                  <a:lnTo>
                    <a:pt x="1092" y="340"/>
                  </a:lnTo>
                  <a:lnTo>
                    <a:pt x="1031" y="344"/>
                  </a:lnTo>
                  <a:lnTo>
                    <a:pt x="971" y="354"/>
                  </a:lnTo>
                  <a:lnTo>
                    <a:pt x="911" y="370"/>
                  </a:lnTo>
                  <a:lnTo>
                    <a:pt x="881" y="381"/>
                  </a:lnTo>
                  <a:lnTo>
                    <a:pt x="852" y="393"/>
                  </a:lnTo>
                  <a:lnTo>
                    <a:pt x="823" y="406"/>
                  </a:lnTo>
                  <a:lnTo>
                    <a:pt x="794" y="423"/>
                  </a:lnTo>
                  <a:lnTo>
                    <a:pt x="766" y="440"/>
                  </a:lnTo>
                  <a:lnTo>
                    <a:pt x="740" y="457"/>
                  </a:lnTo>
                  <a:lnTo>
                    <a:pt x="714" y="476"/>
                  </a:lnTo>
                  <a:lnTo>
                    <a:pt x="691" y="497"/>
                  </a:lnTo>
                  <a:lnTo>
                    <a:pt x="646" y="541"/>
                  </a:lnTo>
                  <a:lnTo>
                    <a:pt x="609" y="589"/>
                  </a:lnTo>
                  <a:lnTo>
                    <a:pt x="574" y="639"/>
                  </a:lnTo>
                  <a:lnTo>
                    <a:pt x="560" y="664"/>
                  </a:lnTo>
                  <a:lnTo>
                    <a:pt x="546" y="692"/>
                  </a:lnTo>
                  <a:lnTo>
                    <a:pt x="534" y="718"/>
                  </a:lnTo>
                  <a:lnTo>
                    <a:pt x="524" y="746"/>
                  </a:lnTo>
                  <a:lnTo>
                    <a:pt x="506" y="803"/>
                  </a:lnTo>
                  <a:lnTo>
                    <a:pt x="494" y="861"/>
                  </a:lnTo>
                  <a:lnTo>
                    <a:pt x="488" y="920"/>
                  </a:lnTo>
                  <a:lnTo>
                    <a:pt x="486" y="978"/>
                  </a:lnTo>
                  <a:lnTo>
                    <a:pt x="491" y="1037"/>
                  </a:lnTo>
                  <a:lnTo>
                    <a:pt x="495" y="1066"/>
                  </a:lnTo>
                  <a:lnTo>
                    <a:pt x="501" y="1095"/>
                  </a:lnTo>
                  <a:lnTo>
                    <a:pt x="516" y="1152"/>
                  </a:lnTo>
                  <a:lnTo>
                    <a:pt x="538" y="1207"/>
                  </a:lnTo>
                  <a:lnTo>
                    <a:pt x="565" y="125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0176312" y="5785848"/>
              <a:ext cx="730621" cy="426079"/>
            </a:xfrm>
            <a:custGeom>
              <a:avLst/>
              <a:gdLst>
                <a:gd name="T0" fmla="*/ 0 w 5232"/>
                <a:gd name="T1" fmla="*/ 3051 h 3051"/>
                <a:gd name="T2" fmla="*/ 653 w 5232"/>
                <a:gd name="T3" fmla="*/ 3051 h 3051"/>
                <a:gd name="T4" fmla="*/ 1307 w 5232"/>
                <a:gd name="T5" fmla="*/ 3051 h 3051"/>
                <a:gd name="T6" fmla="*/ 1962 w 5232"/>
                <a:gd name="T7" fmla="*/ 3051 h 3051"/>
                <a:gd name="T8" fmla="*/ 2616 w 5232"/>
                <a:gd name="T9" fmla="*/ 3051 h 3051"/>
                <a:gd name="T10" fmla="*/ 3269 w 5232"/>
                <a:gd name="T11" fmla="*/ 3051 h 3051"/>
                <a:gd name="T12" fmla="*/ 3923 w 5232"/>
                <a:gd name="T13" fmla="*/ 3051 h 3051"/>
                <a:gd name="T14" fmla="*/ 4578 w 5232"/>
                <a:gd name="T15" fmla="*/ 3051 h 3051"/>
                <a:gd name="T16" fmla="*/ 5232 w 5232"/>
                <a:gd name="T17" fmla="*/ 3051 h 3051"/>
                <a:gd name="T18" fmla="*/ 5232 w 5232"/>
                <a:gd name="T19" fmla="*/ 2288 h 3051"/>
                <a:gd name="T20" fmla="*/ 5232 w 5232"/>
                <a:gd name="T21" fmla="*/ 1525 h 3051"/>
                <a:gd name="T22" fmla="*/ 5232 w 5232"/>
                <a:gd name="T23" fmla="*/ 762 h 3051"/>
                <a:gd name="T24" fmla="*/ 5232 w 5232"/>
                <a:gd name="T25" fmla="*/ 0 h 3051"/>
                <a:gd name="T26" fmla="*/ 4578 w 5232"/>
                <a:gd name="T27" fmla="*/ 0 h 3051"/>
                <a:gd name="T28" fmla="*/ 3923 w 5232"/>
                <a:gd name="T29" fmla="*/ 0 h 3051"/>
                <a:gd name="T30" fmla="*/ 3269 w 5232"/>
                <a:gd name="T31" fmla="*/ 0 h 3051"/>
                <a:gd name="T32" fmla="*/ 2616 w 5232"/>
                <a:gd name="T33" fmla="*/ 0 h 3051"/>
                <a:gd name="T34" fmla="*/ 1962 w 5232"/>
                <a:gd name="T35" fmla="*/ 0 h 3051"/>
                <a:gd name="T36" fmla="*/ 1307 w 5232"/>
                <a:gd name="T37" fmla="*/ 0 h 3051"/>
                <a:gd name="T38" fmla="*/ 653 w 5232"/>
                <a:gd name="T39" fmla="*/ 0 h 3051"/>
                <a:gd name="T40" fmla="*/ 0 w 5232"/>
                <a:gd name="T41" fmla="*/ 0 h 3051"/>
                <a:gd name="T42" fmla="*/ 0 w 5232"/>
                <a:gd name="T43" fmla="*/ 762 h 3051"/>
                <a:gd name="T44" fmla="*/ 0 w 5232"/>
                <a:gd name="T45" fmla="*/ 1525 h 3051"/>
                <a:gd name="T46" fmla="*/ 0 w 5232"/>
                <a:gd name="T47" fmla="*/ 2288 h 3051"/>
                <a:gd name="T48" fmla="*/ 0 w 5232"/>
                <a:gd name="T49" fmla="*/ 3051 h 30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232" h="3051">
                  <a:moveTo>
                    <a:pt x="0" y="3051"/>
                  </a:moveTo>
                  <a:lnTo>
                    <a:pt x="653" y="3051"/>
                  </a:lnTo>
                  <a:lnTo>
                    <a:pt x="1307" y="3051"/>
                  </a:lnTo>
                  <a:lnTo>
                    <a:pt x="1962" y="3051"/>
                  </a:lnTo>
                  <a:lnTo>
                    <a:pt x="2616" y="3051"/>
                  </a:lnTo>
                  <a:lnTo>
                    <a:pt x="3269" y="3051"/>
                  </a:lnTo>
                  <a:lnTo>
                    <a:pt x="3923" y="3051"/>
                  </a:lnTo>
                  <a:lnTo>
                    <a:pt x="4578" y="3051"/>
                  </a:lnTo>
                  <a:lnTo>
                    <a:pt x="5232" y="3051"/>
                  </a:lnTo>
                  <a:lnTo>
                    <a:pt x="5232" y="2288"/>
                  </a:lnTo>
                  <a:lnTo>
                    <a:pt x="5232" y="1525"/>
                  </a:lnTo>
                  <a:lnTo>
                    <a:pt x="5232" y="762"/>
                  </a:lnTo>
                  <a:lnTo>
                    <a:pt x="5232" y="0"/>
                  </a:lnTo>
                  <a:lnTo>
                    <a:pt x="4578" y="0"/>
                  </a:lnTo>
                  <a:lnTo>
                    <a:pt x="3923" y="0"/>
                  </a:lnTo>
                  <a:lnTo>
                    <a:pt x="3269" y="0"/>
                  </a:lnTo>
                  <a:lnTo>
                    <a:pt x="2616" y="0"/>
                  </a:lnTo>
                  <a:lnTo>
                    <a:pt x="1962" y="0"/>
                  </a:lnTo>
                  <a:lnTo>
                    <a:pt x="1307" y="0"/>
                  </a:lnTo>
                  <a:lnTo>
                    <a:pt x="653" y="0"/>
                  </a:lnTo>
                  <a:lnTo>
                    <a:pt x="0" y="0"/>
                  </a:lnTo>
                  <a:lnTo>
                    <a:pt x="0" y="762"/>
                  </a:lnTo>
                  <a:lnTo>
                    <a:pt x="0" y="1525"/>
                  </a:lnTo>
                  <a:lnTo>
                    <a:pt x="0" y="2288"/>
                  </a:lnTo>
                  <a:lnTo>
                    <a:pt x="0" y="3051"/>
                  </a:lnTo>
                  <a:close/>
                </a:path>
              </a:pathLst>
            </a:custGeom>
            <a:solidFill>
              <a:srgbClr val="377A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Freeform 9"/>
            <p:cNvSpPr>
              <a:spLocks noEditPoints="1"/>
            </p:cNvSpPr>
            <p:nvPr userDrawn="1"/>
          </p:nvSpPr>
          <p:spPr bwMode="auto">
            <a:xfrm>
              <a:off x="10293658" y="5873858"/>
              <a:ext cx="491737" cy="272412"/>
            </a:xfrm>
            <a:custGeom>
              <a:avLst/>
              <a:gdLst>
                <a:gd name="T0" fmla="*/ 278 w 3517"/>
                <a:gd name="T1" fmla="*/ 1564 h 1954"/>
                <a:gd name="T2" fmla="*/ 190 w 3517"/>
                <a:gd name="T3" fmla="*/ 1377 h 1954"/>
                <a:gd name="T4" fmla="*/ 466 w 3517"/>
                <a:gd name="T5" fmla="*/ 1198 h 1954"/>
                <a:gd name="T6" fmla="*/ 105 w 3517"/>
                <a:gd name="T7" fmla="*/ 1218 h 1954"/>
                <a:gd name="T8" fmla="*/ 22 w 3517"/>
                <a:gd name="T9" fmla="*/ 1558 h 1954"/>
                <a:gd name="T10" fmla="*/ 508 w 3517"/>
                <a:gd name="T11" fmla="*/ 903 h 1954"/>
                <a:gd name="T12" fmla="*/ 824 w 3517"/>
                <a:gd name="T13" fmla="*/ 1318 h 1954"/>
                <a:gd name="T14" fmla="*/ 1034 w 3517"/>
                <a:gd name="T15" fmla="*/ 1269 h 1954"/>
                <a:gd name="T16" fmla="*/ 800 w 3517"/>
                <a:gd name="T17" fmla="*/ 1165 h 1954"/>
                <a:gd name="T18" fmla="*/ 1476 w 3517"/>
                <a:gd name="T19" fmla="*/ 1679 h 1954"/>
                <a:gd name="T20" fmla="*/ 1372 w 3517"/>
                <a:gd name="T21" fmla="*/ 1161 h 1954"/>
                <a:gd name="T22" fmla="*/ 1104 w 3517"/>
                <a:gd name="T23" fmla="*/ 1333 h 1954"/>
                <a:gd name="T24" fmla="*/ 1201 w 3517"/>
                <a:gd name="T25" fmla="*/ 1684 h 1954"/>
                <a:gd name="T26" fmla="*/ 1288 w 3517"/>
                <a:gd name="T27" fmla="*/ 1514 h 1954"/>
                <a:gd name="T28" fmla="*/ 1370 w 3517"/>
                <a:gd name="T29" fmla="*/ 1318 h 1954"/>
                <a:gd name="T30" fmla="*/ 1506 w 3517"/>
                <a:gd name="T31" fmla="*/ 1482 h 1954"/>
                <a:gd name="T32" fmla="*/ 1977 w 3517"/>
                <a:gd name="T33" fmla="*/ 1198 h 1954"/>
                <a:gd name="T34" fmla="*/ 1980 w 3517"/>
                <a:gd name="T35" fmla="*/ 1323 h 1954"/>
                <a:gd name="T36" fmla="*/ 2300 w 3517"/>
                <a:gd name="T37" fmla="*/ 1364 h 1954"/>
                <a:gd name="T38" fmla="*/ 2142 w 3517"/>
                <a:gd name="T39" fmla="*/ 1162 h 1954"/>
                <a:gd name="T40" fmla="*/ 2902 w 3517"/>
                <a:gd name="T41" fmla="*/ 1848 h 1954"/>
                <a:gd name="T42" fmla="*/ 2659 w 3517"/>
                <a:gd name="T43" fmla="*/ 1168 h 1954"/>
                <a:gd name="T44" fmla="*/ 2361 w 3517"/>
                <a:gd name="T45" fmla="*/ 1305 h 1954"/>
                <a:gd name="T46" fmla="*/ 2418 w 3517"/>
                <a:gd name="T47" fmla="*/ 1656 h 1954"/>
                <a:gd name="T48" fmla="*/ 2734 w 3517"/>
                <a:gd name="T49" fmla="*/ 1666 h 1954"/>
                <a:gd name="T50" fmla="*/ 2605 w 3517"/>
                <a:gd name="T51" fmla="*/ 1790 h 1954"/>
                <a:gd name="T52" fmla="*/ 2549 w 3517"/>
                <a:gd name="T53" fmla="*/ 1532 h 1954"/>
                <a:gd name="T54" fmla="*/ 2599 w 3517"/>
                <a:gd name="T55" fmla="*/ 1323 h 1954"/>
                <a:gd name="T56" fmla="*/ 2756 w 3517"/>
                <a:gd name="T57" fmla="*/ 1468 h 1954"/>
                <a:gd name="T58" fmla="*/ 3141 w 3517"/>
                <a:gd name="T59" fmla="*/ 1179 h 1954"/>
                <a:gd name="T60" fmla="*/ 2975 w 3517"/>
                <a:gd name="T61" fmla="*/ 1475 h 1954"/>
                <a:gd name="T62" fmla="*/ 3206 w 3517"/>
                <a:gd name="T63" fmla="*/ 1719 h 1954"/>
                <a:gd name="T64" fmla="*/ 3308 w 3517"/>
                <a:gd name="T65" fmla="*/ 1577 h 1954"/>
                <a:gd name="T66" fmla="*/ 3512 w 3517"/>
                <a:gd name="T67" fmla="*/ 1376 h 1954"/>
                <a:gd name="T68" fmla="*/ 3284 w 3517"/>
                <a:gd name="T69" fmla="*/ 1161 h 1954"/>
                <a:gd name="T70" fmla="*/ 3150 w 3517"/>
                <a:gd name="T71" fmla="*/ 1336 h 1954"/>
                <a:gd name="T72" fmla="*/ 253 w 3517"/>
                <a:gd name="T73" fmla="*/ 744 h 1954"/>
                <a:gd name="T74" fmla="*/ 99 w 3517"/>
                <a:gd name="T75" fmla="*/ 630 h 1954"/>
                <a:gd name="T76" fmla="*/ 854 w 3517"/>
                <a:gd name="T77" fmla="*/ 734 h 1954"/>
                <a:gd name="T78" fmla="*/ 486 w 3517"/>
                <a:gd name="T79" fmla="*/ 790 h 1954"/>
                <a:gd name="T80" fmla="*/ 341 w 3517"/>
                <a:gd name="T81" fmla="*/ 463 h 1954"/>
                <a:gd name="T82" fmla="*/ 630 w 3517"/>
                <a:gd name="T83" fmla="*/ 255 h 1954"/>
                <a:gd name="T84" fmla="*/ 920 w 3517"/>
                <a:gd name="T85" fmla="*/ 463 h 1954"/>
                <a:gd name="T86" fmla="*/ 643 w 3517"/>
                <a:gd name="T87" fmla="*/ 662 h 1954"/>
                <a:gd name="T88" fmla="*/ 733 w 3517"/>
                <a:gd name="T89" fmla="*/ 465 h 1954"/>
                <a:gd name="T90" fmla="*/ 516 w 3517"/>
                <a:gd name="T91" fmla="*/ 488 h 1954"/>
                <a:gd name="T92" fmla="*/ 1555 w 3517"/>
                <a:gd name="T93" fmla="*/ 440 h 1954"/>
                <a:gd name="T94" fmla="*/ 1383 w 3517"/>
                <a:gd name="T95" fmla="*/ 484 h 1954"/>
                <a:gd name="T96" fmla="*/ 1550 w 3517"/>
                <a:gd name="T97" fmla="*/ 255 h 1954"/>
                <a:gd name="T98" fmla="*/ 1745 w 3517"/>
                <a:gd name="T99" fmla="*/ 422 h 1954"/>
                <a:gd name="T100" fmla="*/ 2184 w 3517"/>
                <a:gd name="T101" fmla="*/ 799 h 1954"/>
                <a:gd name="T102" fmla="*/ 2062 w 3517"/>
                <a:gd name="T103" fmla="*/ 60 h 1954"/>
                <a:gd name="T104" fmla="*/ 2760 w 3517"/>
                <a:gd name="T105" fmla="*/ 258 h 1954"/>
                <a:gd name="T106" fmla="*/ 2927 w 3517"/>
                <a:gd name="T107" fmla="*/ 448 h 1954"/>
                <a:gd name="T108" fmla="*/ 2627 w 3517"/>
                <a:gd name="T109" fmla="*/ 412 h 1954"/>
                <a:gd name="T110" fmla="*/ 3128 w 3517"/>
                <a:gd name="T111" fmla="*/ 592 h 1954"/>
                <a:gd name="T112" fmla="*/ 3386 w 3517"/>
                <a:gd name="T113" fmla="*/ 645 h 1954"/>
                <a:gd name="T114" fmla="*/ 3124 w 3517"/>
                <a:gd name="T115" fmla="*/ 796 h 1954"/>
                <a:gd name="T116" fmla="*/ 2965 w 3517"/>
                <a:gd name="T117" fmla="*/ 492 h 1954"/>
                <a:gd name="T118" fmla="*/ 3213 w 3517"/>
                <a:gd name="T119" fmla="*/ 258 h 1954"/>
                <a:gd name="T120" fmla="*/ 3483 w 3517"/>
                <a:gd name="T121" fmla="*/ 402 h 1954"/>
                <a:gd name="T122" fmla="*/ 3257 w 3517"/>
                <a:gd name="T123" fmla="*/ 382 h 19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517" h="1954">
                  <a:moveTo>
                    <a:pt x="296" y="1724"/>
                  </a:moveTo>
                  <a:lnTo>
                    <a:pt x="309" y="1724"/>
                  </a:lnTo>
                  <a:lnTo>
                    <a:pt x="322" y="1724"/>
                  </a:lnTo>
                  <a:lnTo>
                    <a:pt x="336" y="1723"/>
                  </a:lnTo>
                  <a:lnTo>
                    <a:pt x="349" y="1720"/>
                  </a:lnTo>
                  <a:lnTo>
                    <a:pt x="361" y="1719"/>
                  </a:lnTo>
                  <a:lnTo>
                    <a:pt x="373" y="1717"/>
                  </a:lnTo>
                  <a:lnTo>
                    <a:pt x="398" y="1710"/>
                  </a:lnTo>
                  <a:lnTo>
                    <a:pt x="421" y="1704"/>
                  </a:lnTo>
                  <a:lnTo>
                    <a:pt x="432" y="1699"/>
                  </a:lnTo>
                  <a:lnTo>
                    <a:pt x="443" y="1695"/>
                  </a:lnTo>
                  <a:lnTo>
                    <a:pt x="466" y="1684"/>
                  </a:lnTo>
                  <a:lnTo>
                    <a:pt x="487" y="1673"/>
                  </a:lnTo>
                  <a:lnTo>
                    <a:pt x="416" y="1534"/>
                  </a:lnTo>
                  <a:lnTo>
                    <a:pt x="403" y="1540"/>
                  </a:lnTo>
                  <a:lnTo>
                    <a:pt x="391" y="1547"/>
                  </a:lnTo>
                  <a:lnTo>
                    <a:pt x="379" y="1553"/>
                  </a:lnTo>
                  <a:lnTo>
                    <a:pt x="372" y="1555"/>
                  </a:lnTo>
                  <a:lnTo>
                    <a:pt x="366" y="1557"/>
                  </a:lnTo>
                  <a:lnTo>
                    <a:pt x="351" y="1560"/>
                  </a:lnTo>
                  <a:lnTo>
                    <a:pt x="343" y="1563"/>
                  </a:lnTo>
                  <a:lnTo>
                    <a:pt x="336" y="1564"/>
                  </a:lnTo>
                  <a:lnTo>
                    <a:pt x="328" y="1565"/>
                  </a:lnTo>
                  <a:lnTo>
                    <a:pt x="320" y="1565"/>
                  </a:lnTo>
                  <a:lnTo>
                    <a:pt x="303" y="1566"/>
                  </a:lnTo>
                  <a:lnTo>
                    <a:pt x="290" y="1565"/>
                  </a:lnTo>
                  <a:lnTo>
                    <a:pt x="278" y="1564"/>
                  </a:lnTo>
                  <a:lnTo>
                    <a:pt x="266" y="1560"/>
                  </a:lnTo>
                  <a:lnTo>
                    <a:pt x="253" y="1557"/>
                  </a:lnTo>
                  <a:lnTo>
                    <a:pt x="242" y="1553"/>
                  </a:lnTo>
                  <a:lnTo>
                    <a:pt x="232" y="1547"/>
                  </a:lnTo>
                  <a:lnTo>
                    <a:pt x="222" y="1540"/>
                  </a:lnTo>
                  <a:lnTo>
                    <a:pt x="217" y="1537"/>
                  </a:lnTo>
                  <a:lnTo>
                    <a:pt x="212" y="1534"/>
                  </a:lnTo>
                  <a:lnTo>
                    <a:pt x="203" y="1525"/>
                  </a:lnTo>
                  <a:lnTo>
                    <a:pt x="197" y="1516"/>
                  </a:lnTo>
                  <a:lnTo>
                    <a:pt x="192" y="1510"/>
                  </a:lnTo>
                  <a:lnTo>
                    <a:pt x="190" y="1505"/>
                  </a:lnTo>
                  <a:lnTo>
                    <a:pt x="183" y="1495"/>
                  </a:lnTo>
                  <a:lnTo>
                    <a:pt x="181" y="1488"/>
                  </a:lnTo>
                  <a:lnTo>
                    <a:pt x="179" y="1483"/>
                  </a:lnTo>
                  <a:lnTo>
                    <a:pt x="178" y="1476"/>
                  </a:lnTo>
                  <a:lnTo>
                    <a:pt x="176" y="1469"/>
                  </a:lnTo>
                  <a:lnTo>
                    <a:pt x="175" y="1463"/>
                  </a:lnTo>
                  <a:lnTo>
                    <a:pt x="175" y="1456"/>
                  </a:lnTo>
                  <a:lnTo>
                    <a:pt x="173" y="1449"/>
                  </a:lnTo>
                  <a:lnTo>
                    <a:pt x="173" y="1442"/>
                  </a:lnTo>
                  <a:lnTo>
                    <a:pt x="173" y="1434"/>
                  </a:lnTo>
                  <a:lnTo>
                    <a:pt x="175" y="1427"/>
                  </a:lnTo>
                  <a:lnTo>
                    <a:pt x="176" y="1414"/>
                  </a:lnTo>
                  <a:lnTo>
                    <a:pt x="178" y="1407"/>
                  </a:lnTo>
                  <a:lnTo>
                    <a:pt x="179" y="1401"/>
                  </a:lnTo>
                  <a:lnTo>
                    <a:pt x="183" y="1388"/>
                  </a:lnTo>
                  <a:lnTo>
                    <a:pt x="190" y="1377"/>
                  </a:lnTo>
                  <a:lnTo>
                    <a:pt x="192" y="1373"/>
                  </a:lnTo>
                  <a:lnTo>
                    <a:pt x="197" y="1367"/>
                  </a:lnTo>
                  <a:lnTo>
                    <a:pt x="200" y="1363"/>
                  </a:lnTo>
                  <a:lnTo>
                    <a:pt x="203" y="1358"/>
                  </a:lnTo>
                  <a:lnTo>
                    <a:pt x="208" y="1354"/>
                  </a:lnTo>
                  <a:lnTo>
                    <a:pt x="212" y="1349"/>
                  </a:lnTo>
                  <a:lnTo>
                    <a:pt x="222" y="1343"/>
                  </a:lnTo>
                  <a:lnTo>
                    <a:pt x="232" y="1336"/>
                  </a:lnTo>
                  <a:lnTo>
                    <a:pt x="242" y="1331"/>
                  </a:lnTo>
                  <a:lnTo>
                    <a:pt x="248" y="1328"/>
                  </a:lnTo>
                  <a:lnTo>
                    <a:pt x="253" y="1326"/>
                  </a:lnTo>
                  <a:lnTo>
                    <a:pt x="266" y="1322"/>
                  </a:lnTo>
                  <a:lnTo>
                    <a:pt x="271" y="1321"/>
                  </a:lnTo>
                  <a:lnTo>
                    <a:pt x="278" y="1319"/>
                  </a:lnTo>
                  <a:lnTo>
                    <a:pt x="290" y="1318"/>
                  </a:lnTo>
                  <a:lnTo>
                    <a:pt x="303" y="1317"/>
                  </a:lnTo>
                  <a:lnTo>
                    <a:pt x="320" y="1318"/>
                  </a:lnTo>
                  <a:lnTo>
                    <a:pt x="328" y="1318"/>
                  </a:lnTo>
                  <a:lnTo>
                    <a:pt x="336" y="1319"/>
                  </a:lnTo>
                  <a:lnTo>
                    <a:pt x="351" y="1322"/>
                  </a:lnTo>
                  <a:lnTo>
                    <a:pt x="366" y="1326"/>
                  </a:lnTo>
                  <a:lnTo>
                    <a:pt x="379" y="1331"/>
                  </a:lnTo>
                  <a:lnTo>
                    <a:pt x="391" y="1336"/>
                  </a:lnTo>
                  <a:lnTo>
                    <a:pt x="403" y="1343"/>
                  </a:lnTo>
                  <a:lnTo>
                    <a:pt x="416" y="1349"/>
                  </a:lnTo>
                  <a:lnTo>
                    <a:pt x="487" y="1211"/>
                  </a:lnTo>
                  <a:lnTo>
                    <a:pt x="466" y="1198"/>
                  </a:lnTo>
                  <a:lnTo>
                    <a:pt x="443" y="1188"/>
                  </a:lnTo>
                  <a:lnTo>
                    <a:pt x="432" y="1184"/>
                  </a:lnTo>
                  <a:lnTo>
                    <a:pt x="421" y="1179"/>
                  </a:lnTo>
                  <a:lnTo>
                    <a:pt x="409" y="1176"/>
                  </a:lnTo>
                  <a:lnTo>
                    <a:pt x="398" y="1172"/>
                  </a:lnTo>
                  <a:lnTo>
                    <a:pt x="386" y="1169"/>
                  </a:lnTo>
                  <a:lnTo>
                    <a:pt x="373" y="1166"/>
                  </a:lnTo>
                  <a:lnTo>
                    <a:pt x="361" y="1164"/>
                  </a:lnTo>
                  <a:lnTo>
                    <a:pt x="349" y="1163"/>
                  </a:lnTo>
                  <a:lnTo>
                    <a:pt x="336" y="1161"/>
                  </a:lnTo>
                  <a:lnTo>
                    <a:pt x="322" y="1160"/>
                  </a:lnTo>
                  <a:lnTo>
                    <a:pt x="296" y="1158"/>
                  </a:lnTo>
                  <a:lnTo>
                    <a:pt x="279" y="1160"/>
                  </a:lnTo>
                  <a:lnTo>
                    <a:pt x="263" y="1161"/>
                  </a:lnTo>
                  <a:lnTo>
                    <a:pt x="249" y="1162"/>
                  </a:lnTo>
                  <a:lnTo>
                    <a:pt x="233" y="1164"/>
                  </a:lnTo>
                  <a:lnTo>
                    <a:pt x="219" y="1167"/>
                  </a:lnTo>
                  <a:lnTo>
                    <a:pt x="205" y="1171"/>
                  </a:lnTo>
                  <a:lnTo>
                    <a:pt x="198" y="1172"/>
                  </a:lnTo>
                  <a:lnTo>
                    <a:pt x="191" y="1174"/>
                  </a:lnTo>
                  <a:lnTo>
                    <a:pt x="177" y="1179"/>
                  </a:lnTo>
                  <a:lnTo>
                    <a:pt x="165" y="1184"/>
                  </a:lnTo>
                  <a:lnTo>
                    <a:pt x="151" y="1189"/>
                  </a:lnTo>
                  <a:lnTo>
                    <a:pt x="139" y="1196"/>
                  </a:lnTo>
                  <a:lnTo>
                    <a:pt x="127" y="1203"/>
                  </a:lnTo>
                  <a:lnTo>
                    <a:pt x="116" y="1211"/>
                  </a:lnTo>
                  <a:lnTo>
                    <a:pt x="105" y="1218"/>
                  </a:lnTo>
                  <a:lnTo>
                    <a:pt x="94" y="1227"/>
                  </a:lnTo>
                  <a:lnTo>
                    <a:pt x="84" y="1236"/>
                  </a:lnTo>
                  <a:lnTo>
                    <a:pt x="75" y="1245"/>
                  </a:lnTo>
                  <a:lnTo>
                    <a:pt x="65" y="1255"/>
                  </a:lnTo>
                  <a:lnTo>
                    <a:pt x="57" y="1266"/>
                  </a:lnTo>
                  <a:lnTo>
                    <a:pt x="48" y="1277"/>
                  </a:lnTo>
                  <a:lnTo>
                    <a:pt x="41" y="1288"/>
                  </a:lnTo>
                  <a:lnTo>
                    <a:pt x="35" y="1301"/>
                  </a:lnTo>
                  <a:lnTo>
                    <a:pt x="28" y="1313"/>
                  </a:lnTo>
                  <a:lnTo>
                    <a:pt x="22" y="1325"/>
                  </a:lnTo>
                  <a:lnTo>
                    <a:pt x="17" y="1338"/>
                  </a:lnTo>
                  <a:lnTo>
                    <a:pt x="12" y="1352"/>
                  </a:lnTo>
                  <a:lnTo>
                    <a:pt x="9" y="1366"/>
                  </a:lnTo>
                  <a:lnTo>
                    <a:pt x="6" y="1381"/>
                  </a:lnTo>
                  <a:lnTo>
                    <a:pt x="4" y="1395"/>
                  </a:lnTo>
                  <a:lnTo>
                    <a:pt x="2" y="1403"/>
                  </a:lnTo>
                  <a:lnTo>
                    <a:pt x="1" y="1411"/>
                  </a:lnTo>
                  <a:lnTo>
                    <a:pt x="0" y="1426"/>
                  </a:lnTo>
                  <a:lnTo>
                    <a:pt x="0" y="1442"/>
                  </a:lnTo>
                  <a:lnTo>
                    <a:pt x="0" y="1457"/>
                  </a:lnTo>
                  <a:lnTo>
                    <a:pt x="1" y="1473"/>
                  </a:lnTo>
                  <a:lnTo>
                    <a:pt x="4" y="1488"/>
                  </a:lnTo>
                  <a:lnTo>
                    <a:pt x="6" y="1503"/>
                  </a:lnTo>
                  <a:lnTo>
                    <a:pt x="9" y="1517"/>
                  </a:lnTo>
                  <a:lnTo>
                    <a:pt x="12" y="1532"/>
                  </a:lnTo>
                  <a:lnTo>
                    <a:pt x="17" y="1545"/>
                  </a:lnTo>
                  <a:lnTo>
                    <a:pt x="22" y="1558"/>
                  </a:lnTo>
                  <a:lnTo>
                    <a:pt x="25" y="1565"/>
                  </a:lnTo>
                  <a:lnTo>
                    <a:pt x="28" y="1570"/>
                  </a:lnTo>
                  <a:lnTo>
                    <a:pt x="35" y="1583"/>
                  </a:lnTo>
                  <a:lnTo>
                    <a:pt x="41" y="1595"/>
                  </a:lnTo>
                  <a:lnTo>
                    <a:pt x="48" y="1606"/>
                  </a:lnTo>
                  <a:lnTo>
                    <a:pt x="57" y="1617"/>
                  </a:lnTo>
                  <a:lnTo>
                    <a:pt x="65" y="1627"/>
                  </a:lnTo>
                  <a:lnTo>
                    <a:pt x="75" y="1637"/>
                  </a:lnTo>
                  <a:lnTo>
                    <a:pt x="84" y="1647"/>
                  </a:lnTo>
                  <a:lnTo>
                    <a:pt x="94" y="1656"/>
                  </a:lnTo>
                  <a:lnTo>
                    <a:pt x="105" y="1665"/>
                  </a:lnTo>
                  <a:lnTo>
                    <a:pt x="116" y="1673"/>
                  </a:lnTo>
                  <a:lnTo>
                    <a:pt x="127" y="1680"/>
                  </a:lnTo>
                  <a:lnTo>
                    <a:pt x="139" y="1687"/>
                  </a:lnTo>
                  <a:lnTo>
                    <a:pt x="151" y="1693"/>
                  </a:lnTo>
                  <a:lnTo>
                    <a:pt x="165" y="1699"/>
                  </a:lnTo>
                  <a:lnTo>
                    <a:pt x="177" y="1704"/>
                  </a:lnTo>
                  <a:lnTo>
                    <a:pt x="191" y="1708"/>
                  </a:lnTo>
                  <a:lnTo>
                    <a:pt x="205" y="1713"/>
                  </a:lnTo>
                  <a:lnTo>
                    <a:pt x="219" y="1716"/>
                  </a:lnTo>
                  <a:lnTo>
                    <a:pt x="233" y="1719"/>
                  </a:lnTo>
                  <a:lnTo>
                    <a:pt x="249" y="1722"/>
                  </a:lnTo>
                  <a:lnTo>
                    <a:pt x="263" y="1723"/>
                  </a:lnTo>
                  <a:lnTo>
                    <a:pt x="279" y="1724"/>
                  </a:lnTo>
                  <a:lnTo>
                    <a:pt x="296" y="1724"/>
                  </a:lnTo>
                  <a:close/>
                  <a:moveTo>
                    <a:pt x="681" y="903"/>
                  </a:moveTo>
                  <a:lnTo>
                    <a:pt x="508" y="903"/>
                  </a:lnTo>
                  <a:lnTo>
                    <a:pt x="508" y="1707"/>
                  </a:lnTo>
                  <a:lnTo>
                    <a:pt x="681" y="1707"/>
                  </a:lnTo>
                  <a:lnTo>
                    <a:pt x="681" y="1441"/>
                  </a:lnTo>
                  <a:lnTo>
                    <a:pt x="681" y="1424"/>
                  </a:lnTo>
                  <a:lnTo>
                    <a:pt x="683" y="1408"/>
                  </a:lnTo>
                  <a:lnTo>
                    <a:pt x="684" y="1401"/>
                  </a:lnTo>
                  <a:lnTo>
                    <a:pt x="686" y="1394"/>
                  </a:lnTo>
                  <a:lnTo>
                    <a:pt x="687" y="1387"/>
                  </a:lnTo>
                  <a:lnTo>
                    <a:pt x="689" y="1381"/>
                  </a:lnTo>
                  <a:lnTo>
                    <a:pt x="693" y="1368"/>
                  </a:lnTo>
                  <a:lnTo>
                    <a:pt x="698" y="1358"/>
                  </a:lnTo>
                  <a:lnTo>
                    <a:pt x="701" y="1354"/>
                  </a:lnTo>
                  <a:lnTo>
                    <a:pt x="703" y="1349"/>
                  </a:lnTo>
                  <a:lnTo>
                    <a:pt x="707" y="1345"/>
                  </a:lnTo>
                  <a:lnTo>
                    <a:pt x="710" y="1341"/>
                  </a:lnTo>
                  <a:lnTo>
                    <a:pt x="718" y="1334"/>
                  </a:lnTo>
                  <a:lnTo>
                    <a:pt x="726" y="1327"/>
                  </a:lnTo>
                  <a:lnTo>
                    <a:pt x="733" y="1323"/>
                  </a:lnTo>
                  <a:lnTo>
                    <a:pt x="742" y="1318"/>
                  </a:lnTo>
                  <a:lnTo>
                    <a:pt x="752" y="1315"/>
                  </a:lnTo>
                  <a:lnTo>
                    <a:pt x="762" y="1314"/>
                  </a:lnTo>
                  <a:lnTo>
                    <a:pt x="772" y="1312"/>
                  </a:lnTo>
                  <a:lnTo>
                    <a:pt x="783" y="1312"/>
                  </a:lnTo>
                  <a:lnTo>
                    <a:pt x="794" y="1312"/>
                  </a:lnTo>
                  <a:lnTo>
                    <a:pt x="806" y="1314"/>
                  </a:lnTo>
                  <a:lnTo>
                    <a:pt x="816" y="1315"/>
                  </a:lnTo>
                  <a:lnTo>
                    <a:pt x="824" y="1318"/>
                  </a:lnTo>
                  <a:lnTo>
                    <a:pt x="833" y="1323"/>
                  </a:lnTo>
                  <a:lnTo>
                    <a:pt x="841" y="1327"/>
                  </a:lnTo>
                  <a:lnTo>
                    <a:pt x="849" y="1333"/>
                  </a:lnTo>
                  <a:lnTo>
                    <a:pt x="852" y="1336"/>
                  </a:lnTo>
                  <a:lnTo>
                    <a:pt x="856" y="1339"/>
                  </a:lnTo>
                  <a:lnTo>
                    <a:pt x="861" y="1347"/>
                  </a:lnTo>
                  <a:lnTo>
                    <a:pt x="865" y="1355"/>
                  </a:lnTo>
                  <a:lnTo>
                    <a:pt x="868" y="1361"/>
                  </a:lnTo>
                  <a:lnTo>
                    <a:pt x="870" y="1365"/>
                  </a:lnTo>
                  <a:lnTo>
                    <a:pt x="872" y="1369"/>
                  </a:lnTo>
                  <a:lnTo>
                    <a:pt x="873" y="1375"/>
                  </a:lnTo>
                  <a:lnTo>
                    <a:pt x="877" y="1386"/>
                  </a:lnTo>
                  <a:lnTo>
                    <a:pt x="878" y="1399"/>
                  </a:lnTo>
                  <a:lnTo>
                    <a:pt x="879" y="1413"/>
                  </a:lnTo>
                  <a:lnTo>
                    <a:pt x="880" y="1426"/>
                  </a:lnTo>
                  <a:lnTo>
                    <a:pt x="880" y="1707"/>
                  </a:lnTo>
                  <a:lnTo>
                    <a:pt x="1053" y="1707"/>
                  </a:lnTo>
                  <a:lnTo>
                    <a:pt x="1053" y="1378"/>
                  </a:lnTo>
                  <a:lnTo>
                    <a:pt x="1053" y="1364"/>
                  </a:lnTo>
                  <a:lnTo>
                    <a:pt x="1052" y="1351"/>
                  </a:lnTo>
                  <a:lnTo>
                    <a:pt x="1051" y="1338"/>
                  </a:lnTo>
                  <a:lnTo>
                    <a:pt x="1050" y="1325"/>
                  </a:lnTo>
                  <a:lnTo>
                    <a:pt x="1048" y="1314"/>
                  </a:lnTo>
                  <a:lnTo>
                    <a:pt x="1044" y="1302"/>
                  </a:lnTo>
                  <a:lnTo>
                    <a:pt x="1042" y="1291"/>
                  </a:lnTo>
                  <a:lnTo>
                    <a:pt x="1039" y="1281"/>
                  </a:lnTo>
                  <a:lnTo>
                    <a:pt x="1034" y="1269"/>
                  </a:lnTo>
                  <a:lnTo>
                    <a:pt x="1031" y="1261"/>
                  </a:lnTo>
                  <a:lnTo>
                    <a:pt x="1025" y="1251"/>
                  </a:lnTo>
                  <a:lnTo>
                    <a:pt x="1021" y="1243"/>
                  </a:lnTo>
                  <a:lnTo>
                    <a:pt x="1015" y="1234"/>
                  </a:lnTo>
                  <a:lnTo>
                    <a:pt x="1010" y="1226"/>
                  </a:lnTo>
                  <a:lnTo>
                    <a:pt x="1003" y="1218"/>
                  </a:lnTo>
                  <a:lnTo>
                    <a:pt x="998" y="1212"/>
                  </a:lnTo>
                  <a:lnTo>
                    <a:pt x="990" y="1205"/>
                  </a:lnTo>
                  <a:lnTo>
                    <a:pt x="983" y="1199"/>
                  </a:lnTo>
                  <a:lnTo>
                    <a:pt x="975" y="1194"/>
                  </a:lnTo>
                  <a:lnTo>
                    <a:pt x="968" y="1188"/>
                  </a:lnTo>
                  <a:lnTo>
                    <a:pt x="960" y="1184"/>
                  </a:lnTo>
                  <a:lnTo>
                    <a:pt x="952" y="1179"/>
                  </a:lnTo>
                  <a:lnTo>
                    <a:pt x="943" y="1175"/>
                  </a:lnTo>
                  <a:lnTo>
                    <a:pt x="934" y="1172"/>
                  </a:lnTo>
                  <a:lnTo>
                    <a:pt x="924" y="1168"/>
                  </a:lnTo>
                  <a:lnTo>
                    <a:pt x="915" y="1166"/>
                  </a:lnTo>
                  <a:lnTo>
                    <a:pt x="905" y="1164"/>
                  </a:lnTo>
                  <a:lnTo>
                    <a:pt x="895" y="1162"/>
                  </a:lnTo>
                  <a:lnTo>
                    <a:pt x="885" y="1161"/>
                  </a:lnTo>
                  <a:lnTo>
                    <a:pt x="874" y="1160"/>
                  </a:lnTo>
                  <a:lnTo>
                    <a:pt x="864" y="1160"/>
                  </a:lnTo>
                  <a:lnTo>
                    <a:pt x="853" y="1158"/>
                  </a:lnTo>
                  <a:lnTo>
                    <a:pt x="839" y="1160"/>
                  </a:lnTo>
                  <a:lnTo>
                    <a:pt x="826" y="1161"/>
                  </a:lnTo>
                  <a:lnTo>
                    <a:pt x="812" y="1162"/>
                  </a:lnTo>
                  <a:lnTo>
                    <a:pt x="800" y="1165"/>
                  </a:lnTo>
                  <a:lnTo>
                    <a:pt x="788" y="1167"/>
                  </a:lnTo>
                  <a:lnTo>
                    <a:pt x="776" y="1172"/>
                  </a:lnTo>
                  <a:lnTo>
                    <a:pt x="764" y="1176"/>
                  </a:lnTo>
                  <a:lnTo>
                    <a:pt x="753" y="1182"/>
                  </a:lnTo>
                  <a:lnTo>
                    <a:pt x="743" y="1187"/>
                  </a:lnTo>
                  <a:lnTo>
                    <a:pt x="733" y="1194"/>
                  </a:lnTo>
                  <a:lnTo>
                    <a:pt x="723" y="1201"/>
                  </a:lnTo>
                  <a:lnTo>
                    <a:pt x="714" y="1208"/>
                  </a:lnTo>
                  <a:lnTo>
                    <a:pt x="706" y="1217"/>
                  </a:lnTo>
                  <a:lnTo>
                    <a:pt x="702" y="1222"/>
                  </a:lnTo>
                  <a:lnTo>
                    <a:pt x="698" y="1226"/>
                  </a:lnTo>
                  <a:lnTo>
                    <a:pt x="690" y="1236"/>
                  </a:lnTo>
                  <a:lnTo>
                    <a:pt x="683" y="1246"/>
                  </a:lnTo>
                  <a:lnTo>
                    <a:pt x="681" y="1246"/>
                  </a:lnTo>
                  <a:lnTo>
                    <a:pt x="681" y="903"/>
                  </a:lnTo>
                  <a:close/>
                  <a:moveTo>
                    <a:pt x="1341" y="1724"/>
                  </a:moveTo>
                  <a:lnTo>
                    <a:pt x="1356" y="1724"/>
                  </a:lnTo>
                  <a:lnTo>
                    <a:pt x="1372" y="1723"/>
                  </a:lnTo>
                  <a:lnTo>
                    <a:pt x="1386" y="1720"/>
                  </a:lnTo>
                  <a:lnTo>
                    <a:pt x="1400" y="1718"/>
                  </a:lnTo>
                  <a:lnTo>
                    <a:pt x="1412" y="1714"/>
                  </a:lnTo>
                  <a:lnTo>
                    <a:pt x="1424" y="1710"/>
                  </a:lnTo>
                  <a:lnTo>
                    <a:pt x="1436" y="1705"/>
                  </a:lnTo>
                  <a:lnTo>
                    <a:pt x="1448" y="1699"/>
                  </a:lnTo>
                  <a:lnTo>
                    <a:pt x="1458" y="1694"/>
                  </a:lnTo>
                  <a:lnTo>
                    <a:pt x="1468" y="1687"/>
                  </a:lnTo>
                  <a:lnTo>
                    <a:pt x="1476" y="1679"/>
                  </a:lnTo>
                  <a:lnTo>
                    <a:pt x="1485" y="1672"/>
                  </a:lnTo>
                  <a:lnTo>
                    <a:pt x="1493" y="1663"/>
                  </a:lnTo>
                  <a:lnTo>
                    <a:pt x="1501" y="1654"/>
                  </a:lnTo>
                  <a:lnTo>
                    <a:pt x="1508" y="1645"/>
                  </a:lnTo>
                  <a:lnTo>
                    <a:pt x="1514" y="1635"/>
                  </a:lnTo>
                  <a:lnTo>
                    <a:pt x="1516" y="1635"/>
                  </a:lnTo>
                  <a:lnTo>
                    <a:pt x="1516" y="1707"/>
                  </a:lnTo>
                  <a:lnTo>
                    <a:pt x="1690" y="1707"/>
                  </a:lnTo>
                  <a:lnTo>
                    <a:pt x="1690" y="1176"/>
                  </a:lnTo>
                  <a:lnTo>
                    <a:pt x="1516" y="1176"/>
                  </a:lnTo>
                  <a:lnTo>
                    <a:pt x="1516" y="1248"/>
                  </a:lnTo>
                  <a:lnTo>
                    <a:pt x="1514" y="1248"/>
                  </a:lnTo>
                  <a:lnTo>
                    <a:pt x="1508" y="1238"/>
                  </a:lnTo>
                  <a:lnTo>
                    <a:pt x="1501" y="1229"/>
                  </a:lnTo>
                  <a:lnTo>
                    <a:pt x="1493" y="1221"/>
                  </a:lnTo>
                  <a:lnTo>
                    <a:pt x="1485" y="1212"/>
                  </a:lnTo>
                  <a:lnTo>
                    <a:pt x="1476" y="1204"/>
                  </a:lnTo>
                  <a:lnTo>
                    <a:pt x="1468" y="1196"/>
                  </a:lnTo>
                  <a:lnTo>
                    <a:pt x="1463" y="1193"/>
                  </a:lnTo>
                  <a:lnTo>
                    <a:pt x="1458" y="1189"/>
                  </a:lnTo>
                  <a:lnTo>
                    <a:pt x="1448" y="1184"/>
                  </a:lnTo>
                  <a:lnTo>
                    <a:pt x="1436" y="1178"/>
                  </a:lnTo>
                  <a:lnTo>
                    <a:pt x="1424" y="1173"/>
                  </a:lnTo>
                  <a:lnTo>
                    <a:pt x="1412" y="1168"/>
                  </a:lnTo>
                  <a:lnTo>
                    <a:pt x="1400" y="1165"/>
                  </a:lnTo>
                  <a:lnTo>
                    <a:pt x="1386" y="1163"/>
                  </a:lnTo>
                  <a:lnTo>
                    <a:pt x="1372" y="1161"/>
                  </a:lnTo>
                  <a:lnTo>
                    <a:pt x="1356" y="1160"/>
                  </a:lnTo>
                  <a:lnTo>
                    <a:pt x="1341" y="1158"/>
                  </a:lnTo>
                  <a:lnTo>
                    <a:pt x="1328" y="1160"/>
                  </a:lnTo>
                  <a:lnTo>
                    <a:pt x="1315" y="1160"/>
                  </a:lnTo>
                  <a:lnTo>
                    <a:pt x="1303" y="1162"/>
                  </a:lnTo>
                  <a:lnTo>
                    <a:pt x="1291" y="1164"/>
                  </a:lnTo>
                  <a:lnTo>
                    <a:pt x="1279" y="1166"/>
                  </a:lnTo>
                  <a:lnTo>
                    <a:pt x="1266" y="1169"/>
                  </a:lnTo>
                  <a:lnTo>
                    <a:pt x="1254" y="1173"/>
                  </a:lnTo>
                  <a:lnTo>
                    <a:pt x="1243" y="1177"/>
                  </a:lnTo>
                  <a:lnTo>
                    <a:pt x="1232" y="1182"/>
                  </a:lnTo>
                  <a:lnTo>
                    <a:pt x="1221" y="1187"/>
                  </a:lnTo>
                  <a:lnTo>
                    <a:pt x="1211" y="1193"/>
                  </a:lnTo>
                  <a:lnTo>
                    <a:pt x="1201" y="1199"/>
                  </a:lnTo>
                  <a:lnTo>
                    <a:pt x="1191" y="1206"/>
                  </a:lnTo>
                  <a:lnTo>
                    <a:pt x="1181" y="1214"/>
                  </a:lnTo>
                  <a:lnTo>
                    <a:pt x="1172" y="1222"/>
                  </a:lnTo>
                  <a:lnTo>
                    <a:pt x="1163" y="1231"/>
                  </a:lnTo>
                  <a:lnTo>
                    <a:pt x="1155" y="1239"/>
                  </a:lnTo>
                  <a:lnTo>
                    <a:pt x="1147" y="1249"/>
                  </a:lnTo>
                  <a:lnTo>
                    <a:pt x="1140" y="1259"/>
                  </a:lnTo>
                  <a:lnTo>
                    <a:pt x="1132" y="1271"/>
                  </a:lnTo>
                  <a:lnTo>
                    <a:pt x="1125" y="1282"/>
                  </a:lnTo>
                  <a:lnTo>
                    <a:pt x="1120" y="1294"/>
                  </a:lnTo>
                  <a:lnTo>
                    <a:pt x="1114" y="1306"/>
                  </a:lnTo>
                  <a:lnTo>
                    <a:pt x="1109" y="1318"/>
                  </a:lnTo>
                  <a:lnTo>
                    <a:pt x="1104" y="1333"/>
                  </a:lnTo>
                  <a:lnTo>
                    <a:pt x="1101" y="1346"/>
                  </a:lnTo>
                  <a:lnTo>
                    <a:pt x="1098" y="1361"/>
                  </a:lnTo>
                  <a:lnTo>
                    <a:pt x="1094" y="1376"/>
                  </a:lnTo>
                  <a:lnTo>
                    <a:pt x="1092" y="1392"/>
                  </a:lnTo>
                  <a:lnTo>
                    <a:pt x="1091" y="1407"/>
                  </a:lnTo>
                  <a:lnTo>
                    <a:pt x="1090" y="1424"/>
                  </a:lnTo>
                  <a:lnTo>
                    <a:pt x="1089" y="1442"/>
                  </a:lnTo>
                  <a:lnTo>
                    <a:pt x="1090" y="1458"/>
                  </a:lnTo>
                  <a:lnTo>
                    <a:pt x="1091" y="1475"/>
                  </a:lnTo>
                  <a:lnTo>
                    <a:pt x="1092" y="1492"/>
                  </a:lnTo>
                  <a:lnTo>
                    <a:pt x="1094" y="1507"/>
                  </a:lnTo>
                  <a:lnTo>
                    <a:pt x="1098" y="1523"/>
                  </a:lnTo>
                  <a:lnTo>
                    <a:pt x="1101" y="1537"/>
                  </a:lnTo>
                  <a:lnTo>
                    <a:pt x="1104" y="1550"/>
                  </a:lnTo>
                  <a:lnTo>
                    <a:pt x="1109" y="1564"/>
                  </a:lnTo>
                  <a:lnTo>
                    <a:pt x="1114" y="1577"/>
                  </a:lnTo>
                  <a:lnTo>
                    <a:pt x="1120" y="1589"/>
                  </a:lnTo>
                  <a:lnTo>
                    <a:pt x="1125" y="1602"/>
                  </a:lnTo>
                  <a:lnTo>
                    <a:pt x="1132" y="1613"/>
                  </a:lnTo>
                  <a:lnTo>
                    <a:pt x="1140" y="1624"/>
                  </a:lnTo>
                  <a:lnTo>
                    <a:pt x="1147" y="1634"/>
                  </a:lnTo>
                  <a:lnTo>
                    <a:pt x="1155" y="1644"/>
                  </a:lnTo>
                  <a:lnTo>
                    <a:pt x="1163" y="1653"/>
                  </a:lnTo>
                  <a:lnTo>
                    <a:pt x="1172" y="1662"/>
                  </a:lnTo>
                  <a:lnTo>
                    <a:pt x="1181" y="1669"/>
                  </a:lnTo>
                  <a:lnTo>
                    <a:pt x="1191" y="1677"/>
                  </a:lnTo>
                  <a:lnTo>
                    <a:pt x="1201" y="1684"/>
                  </a:lnTo>
                  <a:lnTo>
                    <a:pt x="1211" y="1690"/>
                  </a:lnTo>
                  <a:lnTo>
                    <a:pt x="1221" y="1696"/>
                  </a:lnTo>
                  <a:lnTo>
                    <a:pt x="1232" y="1702"/>
                  </a:lnTo>
                  <a:lnTo>
                    <a:pt x="1243" y="1706"/>
                  </a:lnTo>
                  <a:lnTo>
                    <a:pt x="1254" y="1710"/>
                  </a:lnTo>
                  <a:lnTo>
                    <a:pt x="1266" y="1714"/>
                  </a:lnTo>
                  <a:lnTo>
                    <a:pt x="1279" y="1717"/>
                  </a:lnTo>
                  <a:lnTo>
                    <a:pt x="1291" y="1719"/>
                  </a:lnTo>
                  <a:lnTo>
                    <a:pt x="1303" y="1722"/>
                  </a:lnTo>
                  <a:lnTo>
                    <a:pt x="1315" y="1723"/>
                  </a:lnTo>
                  <a:lnTo>
                    <a:pt x="1328" y="1724"/>
                  </a:lnTo>
                  <a:lnTo>
                    <a:pt x="1341" y="1724"/>
                  </a:lnTo>
                  <a:close/>
                  <a:moveTo>
                    <a:pt x="1389" y="1566"/>
                  </a:moveTo>
                  <a:lnTo>
                    <a:pt x="1376" y="1565"/>
                  </a:lnTo>
                  <a:lnTo>
                    <a:pt x="1370" y="1565"/>
                  </a:lnTo>
                  <a:lnTo>
                    <a:pt x="1364" y="1564"/>
                  </a:lnTo>
                  <a:lnTo>
                    <a:pt x="1352" y="1560"/>
                  </a:lnTo>
                  <a:lnTo>
                    <a:pt x="1346" y="1559"/>
                  </a:lnTo>
                  <a:lnTo>
                    <a:pt x="1341" y="1557"/>
                  </a:lnTo>
                  <a:lnTo>
                    <a:pt x="1330" y="1552"/>
                  </a:lnTo>
                  <a:lnTo>
                    <a:pt x="1325" y="1549"/>
                  </a:lnTo>
                  <a:lnTo>
                    <a:pt x="1320" y="1546"/>
                  </a:lnTo>
                  <a:lnTo>
                    <a:pt x="1315" y="1543"/>
                  </a:lnTo>
                  <a:lnTo>
                    <a:pt x="1311" y="1539"/>
                  </a:lnTo>
                  <a:lnTo>
                    <a:pt x="1302" y="1532"/>
                  </a:lnTo>
                  <a:lnTo>
                    <a:pt x="1294" y="1524"/>
                  </a:lnTo>
                  <a:lnTo>
                    <a:pt x="1288" y="1514"/>
                  </a:lnTo>
                  <a:lnTo>
                    <a:pt x="1282" y="1504"/>
                  </a:lnTo>
                  <a:lnTo>
                    <a:pt x="1279" y="1498"/>
                  </a:lnTo>
                  <a:lnTo>
                    <a:pt x="1276" y="1493"/>
                  </a:lnTo>
                  <a:lnTo>
                    <a:pt x="1272" y="1482"/>
                  </a:lnTo>
                  <a:lnTo>
                    <a:pt x="1270" y="1468"/>
                  </a:lnTo>
                  <a:lnTo>
                    <a:pt x="1269" y="1462"/>
                  </a:lnTo>
                  <a:lnTo>
                    <a:pt x="1268" y="1455"/>
                  </a:lnTo>
                  <a:lnTo>
                    <a:pt x="1268" y="1442"/>
                  </a:lnTo>
                  <a:lnTo>
                    <a:pt x="1268" y="1427"/>
                  </a:lnTo>
                  <a:lnTo>
                    <a:pt x="1270" y="1415"/>
                  </a:lnTo>
                  <a:lnTo>
                    <a:pt x="1271" y="1408"/>
                  </a:lnTo>
                  <a:lnTo>
                    <a:pt x="1272" y="1402"/>
                  </a:lnTo>
                  <a:lnTo>
                    <a:pt x="1276" y="1391"/>
                  </a:lnTo>
                  <a:lnTo>
                    <a:pt x="1279" y="1385"/>
                  </a:lnTo>
                  <a:lnTo>
                    <a:pt x="1282" y="1379"/>
                  </a:lnTo>
                  <a:lnTo>
                    <a:pt x="1288" y="1369"/>
                  </a:lnTo>
                  <a:lnTo>
                    <a:pt x="1294" y="1359"/>
                  </a:lnTo>
                  <a:lnTo>
                    <a:pt x="1302" y="1351"/>
                  </a:lnTo>
                  <a:lnTo>
                    <a:pt x="1306" y="1347"/>
                  </a:lnTo>
                  <a:lnTo>
                    <a:pt x="1311" y="1344"/>
                  </a:lnTo>
                  <a:lnTo>
                    <a:pt x="1315" y="1341"/>
                  </a:lnTo>
                  <a:lnTo>
                    <a:pt x="1320" y="1337"/>
                  </a:lnTo>
                  <a:lnTo>
                    <a:pt x="1330" y="1331"/>
                  </a:lnTo>
                  <a:lnTo>
                    <a:pt x="1341" y="1326"/>
                  </a:lnTo>
                  <a:lnTo>
                    <a:pt x="1352" y="1323"/>
                  </a:lnTo>
                  <a:lnTo>
                    <a:pt x="1364" y="1319"/>
                  </a:lnTo>
                  <a:lnTo>
                    <a:pt x="1370" y="1318"/>
                  </a:lnTo>
                  <a:lnTo>
                    <a:pt x="1376" y="1318"/>
                  </a:lnTo>
                  <a:lnTo>
                    <a:pt x="1389" y="1317"/>
                  </a:lnTo>
                  <a:lnTo>
                    <a:pt x="1402" y="1318"/>
                  </a:lnTo>
                  <a:lnTo>
                    <a:pt x="1414" y="1319"/>
                  </a:lnTo>
                  <a:lnTo>
                    <a:pt x="1426" y="1323"/>
                  </a:lnTo>
                  <a:lnTo>
                    <a:pt x="1432" y="1324"/>
                  </a:lnTo>
                  <a:lnTo>
                    <a:pt x="1438" y="1326"/>
                  </a:lnTo>
                  <a:lnTo>
                    <a:pt x="1449" y="1331"/>
                  </a:lnTo>
                  <a:lnTo>
                    <a:pt x="1454" y="1334"/>
                  </a:lnTo>
                  <a:lnTo>
                    <a:pt x="1459" y="1337"/>
                  </a:lnTo>
                  <a:lnTo>
                    <a:pt x="1463" y="1341"/>
                  </a:lnTo>
                  <a:lnTo>
                    <a:pt x="1469" y="1344"/>
                  </a:lnTo>
                  <a:lnTo>
                    <a:pt x="1476" y="1351"/>
                  </a:lnTo>
                  <a:lnTo>
                    <a:pt x="1484" y="1359"/>
                  </a:lnTo>
                  <a:lnTo>
                    <a:pt x="1492" y="1369"/>
                  </a:lnTo>
                  <a:lnTo>
                    <a:pt x="1498" y="1379"/>
                  </a:lnTo>
                  <a:lnTo>
                    <a:pt x="1500" y="1385"/>
                  </a:lnTo>
                  <a:lnTo>
                    <a:pt x="1503" y="1391"/>
                  </a:lnTo>
                  <a:lnTo>
                    <a:pt x="1506" y="1402"/>
                  </a:lnTo>
                  <a:lnTo>
                    <a:pt x="1510" y="1415"/>
                  </a:lnTo>
                  <a:lnTo>
                    <a:pt x="1511" y="1421"/>
                  </a:lnTo>
                  <a:lnTo>
                    <a:pt x="1511" y="1427"/>
                  </a:lnTo>
                  <a:lnTo>
                    <a:pt x="1512" y="1442"/>
                  </a:lnTo>
                  <a:lnTo>
                    <a:pt x="1511" y="1455"/>
                  </a:lnTo>
                  <a:lnTo>
                    <a:pt x="1510" y="1468"/>
                  </a:lnTo>
                  <a:lnTo>
                    <a:pt x="1509" y="1475"/>
                  </a:lnTo>
                  <a:lnTo>
                    <a:pt x="1506" y="1482"/>
                  </a:lnTo>
                  <a:lnTo>
                    <a:pt x="1503" y="1493"/>
                  </a:lnTo>
                  <a:lnTo>
                    <a:pt x="1500" y="1498"/>
                  </a:lnTo>
                  <a:lnTo>
                    <a:pt x="1498" y="1504"/>
                  </a:lnTo>
                  <a:lnTo>
                    <a:pt x="1492" y="1514"/>
                  </a:lnTo>
                  <a:lnTo>
                    <a:pt x="1484" y="1524"/>
                  </a:lnTo>
                  <a:lnTo>
                    <a:pt x="1476" y="1532"/>
                  </a:lnTo>
                  <a:lnTo>
                    <a:pt x="1473" y="1536"/>
                  </a:lnTo>
                  <a:lnTo>
                    <a:pt x="1469" y="1539"/>
                  </a:lnTo>
                  <a:lnTo>
                    <a:pt x="1463" y="1543"/>
                  </a:lnTo>
                  <a:lnTo>
                    <a:pt x="1459" y="1546"/>
                  </a:lnTo>
                  <a:lnTo>
                    <a:pt x="1449" y="1552"/>
                  </a:lnTo>
                  <a:lnTo>
                    <a:pt x="1438" y="1557"/>
                  </a:lnTo>
                  <a:lnTo>
                    <a:pt x="1426" y="1560"/>
                  </a:lnTo>
                  <a:lnTo>
                    <a:pt x="1414" y="1564"/>
                  </a:lnTo>
                  <a:lnTo>
                    <a:pt x="1402" y="1565"/>
                  </a:lnTo>
                  <a:lnTo>
                    <a:pt x="1389" y="1566"/>
                  </a:lnTo>
                  <a:close/>
                  <a:moveTo>
                    <a:pt x="2100" y="1158"/>
                  </a:moveTo>
                  <a:lnTo>
                    <a:pt x="2086" y="1160"/>
                  </a:lnTo>
                  <a:lnTo>
                    <a:pt x="2072" y="1161"/>
                  </a:lnTo>
                  <a:lnTo>
                    <a:pt x="2058" y="1163"/>
                  </a:lnTo>
                  <a:lnTo>
                    <a:pt x="2046" y="1165"/>
                  </a:lnTo>
                  <a:lnTo>
                    <a:pt x="2034" y="1169"/>
                  </a:lnTo>
                  <a:lnTo>
                    <a:pt x="2022" y="1174"/>
                  </a:lnTo>
                  <a:lnTo>
                    <a:pt x="2010" y="1178"/>
                  </a:lnTo>
                  <a:lnTo>
                    <a:pt x="1998" y="1184"/>
                  </a:lnTo>
                  <a:lnTo>
                    <a:pt x="1987" y="1191"/>
                  </a:lnTo>
                  <a:lnTo>
                    <a:pt x="1977" y="1198"/>
                  </a:lnTo>
                  <a:lnTo>
                    <a:pt x="1967" y="1206"/>
                  </a:lnTo>
                  <a:lnTo>
                    <a:pt x="1959" y="1215"/>
                  </a:lnTo>
                  <a:lnTo>
                    <a:pt x="1950" y="1225"/>
                  </a:lnTo>
                  <a:lnTo>
                    <a:pt x="1941" y="1235"/>
                  </a:lnTo>
                  <a:lnTo>
                    <a:pt x="1933" y="1245"/>
                  </a:lnTo>
                  <a:lnTo>
                    <a:pt x="1926" y="1256"/>
                  </a:lnTo>
                  <a:lnTo>
                    <a:pt x="1924" y="1256"/>
                  </a:lnTo>
                  <a:lnTo>
                    <a:pt x="1924" y="1176"/>
                  </a:lnTo>
                  <a:lnTo>
                    <a:pt x="1754" y="1176"/>
                  </a:lnTo>
                  <a:lnTo>
                    <a:pt x="1754" y="1707"/>
                  </a:lnTo>
                  <a:lnTo>
                    <a:pt x="1927" y="1707"/>
                  </a:lnTo>
                  <a:lnTo>
                    <a:pt x="1927" y="1441"/>
                  </a:lnTo>
                  <a:lnTo>
                    <a:pt x="1927" y="1424"/>
                  </a:lnTo>
                  <a:lnTo>
                    <a:pt x="1930" y="1408"/>
                  </a:lnTo>
                  <a:lnTo>
                    <a:pt x="1931" y="1401"/>
                  </a:lnTo>
                  <a:lnTo>
                    <a:pt x="1932" y="1394"/>
                  </a:lnTo>
                  <a:lnTo>
                    <a:pt x="1933" y="1387"/>
                  </a:lnTo>
                  <a:lnTo>
                    <a:pt x="1935" y="1381"/>
                  </a:lnTo>
                  <a:lnTo>
                    <a:pt x="1940" y="1368"/>
                  </a:lnTo>
                  <a:lnTo>
                    <a:pt x="1944" y="1358"/>
                  </a:lnTo>
                  <a:lnTo>
                    <a:pt x="1947" y="1354"/>
                  </a:lnTo>
                  <a:lnTo>
                    <a:pt x="1950" y="1349"/>
                  </a:lnTo>
                  <a:lnTo>
                    <a:pt x="1953" y="1345"/>
                  </a:lnTo>
                  <a:lnTo>
                    <a:pt x="1956" y="1341"/>
                  </a:lnTo>
                  <a:lnTo>
                    <a:pt x="1964" y="1334"/>
                  </a:lnTo>
                  <a:lnTo>
                    <a:pt x="1972" y="1327"/>
                  </a:lnTo>
                  <a:lnTo>
                    <a:pt x="1980" y="1323"/>
                  </a:lnTo>
                  <a:lnTo>
                    <a:pt x="1989" y="1318"/>
                  </a:lnTo>
                  <a:lnTo>
                    <a:pt x="1998" y="1315"/>
                  </a:lnTo>
                  <a:lnTo>
                    <a:pt x="2008" y="1314"/>
                  </a:lnTo>
                  <a:lnTo>
                    <a:pt x="2018" y="1312"/>
                  </a:lnTo>
                  <a:lnTo>
                    <a:pt x="2030" y="1312"/>
                  </a:lnTo>
                  <a:lnTo>
                    <a:pt x="2041" y="1312"/>
                  </a:lnTo>
                  <a:lnTo>
                    <a:pt x="2052" y="1314"/>
                  </a:lnTo>
                  <a:lnTo>
                    <a:pt x="2063" y="1315"/>
                  </a:lnTo>
                  <a:lnTo>
                    <a:pt x="2072" y="1318"/>
                  </a:lnTo>
                  <a:lnTo>
                    <a:pt x="2081" y="1323"/>
                  </a:lnTo>
                  <a:lnTo>
                    <a:pt x="2088" y="1327"/>
                  </a:lnTo>
                  <a:lnTo>
                    <a:pt x="2096" y="1333"/>
                  </a:lnTo>
                  <a:lnTo>
                    <a:pt x="2100" y="1336"/>
                  </a:lnTo>
                  <a:lnTo>
                    <a:pt x="2103" y="1339"/>
                  </a:lnTo>
                  <a:lnTo>
                    <a:pt x="2108" y="1347"/>
                  </a:lnTo>
                  <a:lnTo>
                    <a:pt x="2113" y="1355"/>
                  </a:lnTo>
                  <a:lnTo>
                    <a:pt x="2115" y="1361"/>
                  </a:lnTo>
                  <a:lnTo>
                    <a:pt x="2117" y="1365"/>
                  </a:lnTo>
                  <a:lnTo>
                    <a:pt x="2121" y="1375"/>
                  </a:lnTo>
                  <a:lnTo>
                    <a:pt x="2124" y="1386"/>
                  </a:lnTo>
                  <a:lnTo>
                    <a:pt x="2125" y="1399"/>
                  </a:lnTo>
                  <a:lnTo>
                    <a:pt x="2127" y="1413"/>
                  </a:lnTo>
                  <a:lnTo>
                    <a:pt x="2127" y="1426"/>
                  </a:lnTo>
                  <a:lnTo>
                    <a:pt x="2127" y="1707"/>
                  </a:lnTo>
                  <a:lnTo>
                    <a:pt x="2300" y="1707"/>
                  </a:lnTo>
                  <a:lnTo>
                    <a:pt x="2300" y="1378"/>
                  </a:lnTo>
                  <a:lnTo>
                    <a:pt x="2300" y="1364"/>
                  </a:lnTo>
                  <a:lnTo>
                    <a:pt x="2298" y="1351"/>
                  </a:lnTo>
                  <a:lnTo>
                    <a:pt x="2297" y="1338"/>
                  </a:lnTo>
                  <a:lnTo>
                    <a:pt x="2296" y="1325"/>
                  </a:lnTo>
                  <a:lnTo>
                    <a:pt x="2294" y="1314"/>
                  </a:lnTo>
                  <a:lnTo>
                    <a:pt x="2291" y="1302"/>
                  </a:lnTo>
                  <a:lnTo>
                    <a:pt x="2288" y="1291"/>
                  </a:lnTo>
                  <a:lnTo>
                    <a:pt x="2285" y="1281"/>
                  </a:lnTo>
                  <a:lnTo>
                    <a:pt x="2281" y="1269"/>
                  </a:lnTo>
                  <a:lnTo>
                    <a:pt x="2277" y="1261"/>
                  </a:lnTo>
                  <a:lnTo>
                    <a:pt x="2272" y="1251"/>
                  </a:lnTo>
                  <a:lnTo>
                    <a:pt x="2267" y="1243"/>
                  </a:lnTo>
                  <a:lnTo>
                    <a:pt x="2262" y="1234"/>
                  </a:lnTo>
                  <a:lnTo>
                    <a:pt x="2256" y="1226"/>
                  </a:lnTo>
                  <a:lnTo>
                    <a:pt x="2250" y="1218"/>
                  </a:lnTo>
                  <a:lnTo>
                    <a:pt x="2244" y="1212"/>
                  </a:lnTo>
                  <a:lnTo>
                    <a:pt x="2236" y="1205"/>
                  </a:lnTo>
                  <a:lnTo>
                    <a:pt x="2230" y="1199"/>
                  </a:lnTo>
                  <a:lnTo>
                    <a:pt x="2222" y="1194"/>
                  </a:lnTo>
                  <a:lnTo>
                    <a:pt x="2214" y="1188"/>
                  </a:lnTo>
                  <a:lnTo>
                    <a:pt x="2206" y="1184"/>
                  </a:lnTo>
                  <a:lnTo>
                    <a:pt x="2198" y="1179"/>
                  </a:lnTo>
                  <a:lnTo>
                    <a:pt x="2190" y="1175"/>
                  </a:lnTo>
                  <a:lnTo>
                    <a:pt x="2181" y="1172"/>
                  </a:lnTo>
                  <a:lnTo>
                    <a:pt x="2171" y="1168"/>
                  </a:lnTo>
                  <a:lnTo>
                    <a:pt x="2162" y="1166"/>
                  </a:lnTo>
                  <a:lnTo>
                    <a:pt x="2152" y="1164"/>
                  </a:lnTo>
                  <a:lnTo>
                    <a:pt x="2142" y="1162"/>
                  </a:lnTo>
                  <a:lnTo>
                    <a:pt x="2132" y="1161"/>
                  </a:lnTo>
                  <a:lnTo>
                    <a:pt x="2121" y="1160"/>
                  </a:lnTo>
                  <a:lnTo>
                    <a:pt x="2111" y="1160"/>
                  </a:lnTo>
                  <a:lnTo>
                    <a:pt x="2100" y="1158"/>
                  </a:lnTo>
                  <a:close/>
                  <a:moveTo>
                    <a:pt x="2651" y="1954"/>
                  </a:moveTo>
                  <a:lnTo>
                    <a:pt x="2668" y="1954"/>
                  </a:lnTo>
                  <a:lnTo>
                    <a:pt x="2685" y="1953"/>
                  </a:lnTo>
                  <a:lnTo>
                    <a:pt x="2701" y="1951"/>
                  </a:lnTo>
                  <a:lnTo>
                    <a:pt x="2716" y="1950"/>
                  </a:lnTo>
                  <a:lnTo>
                    <a:pt x="2731" y="1948"/>
                  </a:lnTo>
                  <a:lnTo>
                    <a:pt x="2745" y="1946"/>
                  </a:lnTo>
                  <a:lnTo>
                    <a:pt x="2759" y="1943"/>
                  </a:lnTo>
                  <a:lnTo>
                    <a:pt x="2773" y="1939"/>
                  </a:lnTo>
                  <a:lnTo>
                    <a:pt x="2779" y="1937"/>
                  </a:lnTo>
                  <a:lnTo>
                    <a:pt x="2786" y="1935"/>
                  </a:lnTo>
                  <a:lnTo>
                    <a:pt x="2798" y="1930"/>
                  </a:lnTo>
                  <a:lnTo>
                    <a:pt x="2810" y="1925"/>
                  </a:lnTo>
                  <a:lnTo>
                    <a:pt x="2822" y="1919"/>
                  </a:lnTo>
                  <a:lnTo>
                    <a:pt x="2833" y="1914"/>
                  </a:lnTo>
                  <a:lnTo>
                    <a:pt x="2844" y="1907"/>
                  </a:lnTo>
                  <a:lnTo>
                    <a:pt x="2853" y="1900"/>
                  </a:lnTo>
                  <a:lnTo>
                    <a:pt x="2863" y="1893"/>
                  </a:lnTo>
                  <a:lnTo>
                    <a:pt x="2872" y="1885"/>
                  </a:lnTo>
                  <a:lnTo>
                    <a:pt x="2879" y="1877"/>
                  </a:lnTo>
                  <a:lnTo>
                    <a:pt x="2887" y="1868"/>
                  </a:lnTo>
                  <a:lnTo>
                    <a:pt x="2895" y="1858"/>
                  </a:lnTo>
                  <a:lnTo>
                    <a:pt x="2902" y="1848"/>
                  </a:lnTo>
                  <a:lnTo>
                    <a:pt x="2907" y="1838"/>
                  </a:lnTo>
                  <a:lnTo>
                    <a:pt x="2913" y="1827"/>
                  </a:lnTo>
                  <a:lnTo>
                    <a:pt x="2918" y="1816"/>
                  </a:lnTo>
                  <a:lnTo>
                    <a:pt x="2923" y="1804"/>
                  </a:lnTo>
                  <a:lnTo>
                    <a:pt x="2926" y="1792"/>
                  </a:lnTo>
                  <a:lnTo>
                    <a:pt x="2929" y="1779"/>
                  </a:lnTo>
                  <a:lnTo>
                    <a:pt x="2932" y="1766"/>
                  </a:lnTo>
                  <a:lnTo>
                    <a:pt x="2934" y="1752"/>
                  </a:lnTo>
                  <a:lnTo>
                    <a:pt x="2936" y="1737"/>
                  </a:lnTo>
                  <a:lnTo>
                    <a:pt x="2937" y="1723"/>
                  </a:lnTo>
                  <a:lnTo>
                    <a:pt x="2937" y="1707"/>
                  </a:lnTo>
                  <a:lnTo>
                    <a:pt x="2937" y="1176"/>
                  </a:lnTo>
                  <a:lnTo>
                    <a:pt x="2764" y="1176"/>
                  </a:lnTo>
                  <a:lnTo>
                    <a:pt x="2764" y="1248"/>
                  </a:lnTo>
                  <a:lnTo>
                    <a:pt x="2762" y="1248"/>
                  </a:lnTo>
                  <a:lnTo>
                    <a:pt x="2755" y="1238"/>
                  </a:lnTo>
                  <a:lnTo>
                    <a:pt x="2748" y="1229"/>
                  </a:lnTo>
                  <a:lnTo>
                    <a:pt x="2741" y="1221"/>
                  </a:lnTo>
                  <a:lnTo>
                    <a:pt x="2733" y="1212"/>
                  </a:lnTo>
                  <a:lnTo>
                    <a:pt x="2724" y="1204"/>
                  </a:lnTo>
                  <a:lnTo>
                    <a:pt x="2715" y="1196"/>
                  </a:lnTo>
                  <a:lnTo>
                    <a:pt x="2709" y="1193"/>
                  </a:lnTo>
                  <a:lnTo>
                    <a:pt x="2705" y="1189"/>
                  </a:lnTo>
                  <a:lnTo>
                    <a:pt x="2694" y="1184"/>
                  </a:lnTo>
                  <a:lnTo>
                    <a:pt x="2684" y="1178"/>
                  </a:lnTo>
                  <a:lnTo>
                    <a:pt x="2672" y="1173"/>
                  </a:lnTo>
                  <a:lnTo>
                    <a:pt x="2659" y="1168"/>
                  </a:lnTo>
                  <a:lnTo>
                    <a:pt x="2646" y="1165"/>
                  </a:lnTo>
                  <a:lnTo>
                    <a:pt x="2633" y="1163"/>
                  </a:lnTo>
                  <a:lnTo>
                    <a:pt x="2618" y="1161"/>
                  </a:lnTo>
                  <a:lnTo>
                    <a:pt x="2604" y="1160"/>
                  </a:lnTo>
                  <a:lnTo>
                    <a:pt x="2587" y="1158"/>
                  </a:lnTo>
                  <a:lnTo>
                    <a:pt x="2575" y="1160"/>
                  </a:lnTo>
                  <a:lnTo>
                    <a:pt x="2562" y="1160"/>
                  </a:lnTo>
                  <a:lnTo>
                    <a:pt x="2537" y="1164"/>
                  </a:lnTo>
                  <a:lnTo>
                    <a:pt x="2525" y="1166"/>
                  </a:lnTo>
                  <a:lnTo>
                    <a:pt x="2513" y="1169"/>
                  </a:lnTo>
                  <a:lnTo>
                    <a:pt x="2502" y="1173"/>
                  </a:lnTo>
                  <a:lnTo>
                    <a:pt x="2491" y="1177"/>
                  </a:lnTo>
                  <a:lnTo>
                    <a:pt x="2479" y="1182"/>
                  </a:lnTo>
                  <a:lnTo>
                    <a:pt x="2468" y="1187"/>
                  </a:lnTo>
                  <a:lnTo>
                    <a:pt x="2457" y="1193"/>
                  </a:lnTo>
                  <a:lnTo>
                    <a:pt x="2447" y="1199"/>
                  </a:lnTo>
                  <a:lnTo>
                    <a:pt x="2437" y="1206"/>
                  </a:lnTo>
                  <a:lnTo>
                    <a:pt x="2428" y="1214"/>
                  </a:lnTo>
                  <a:lnTo>
                    <a:pt x="2419" y="1222"/>
                  </a:lnTo>
                  <a:lnTo>
                    <a:pt x="2411" y="1231"/>
                  </a:lnTo>
                  <a:lnTo>
                    <a:pt x="2402" y="1239"/>
                  </a:lnTo>
                  <a:lnTo>
                    <a:pt x="2394" y="1249"/>
                  </a:lnTo>
                  <a:lnTo>
                    <a:pt x="2386" y="1259"/>
                  </a:lnTo>
                  <a:lnTo>
                    <a:pt x="2379" y="1271"/>
                  </a:lnTo>
                  <a:lnTo>
                    <a:pt x="2373" y="1282"/>
                  </a:lnTo>
                  <a:lnTo>
                    <a:pt x="2366" y="1293"/>
                  </a:lnTo>
                  <a:lnTo>
                    <a:pt x="2361" y="1305"/>
                  </a:lnTo>
                  <a:lnTo>
                    <a:pt x="2356" y="1318"/>
                  </a:lnTo>
                  <a:lnTo>
                    <a:pt x="2352" y="1332"/>
                  </a:lnTo>
                  <a:lnTo>
                    <a:pt x="2347" y="1346"/>
                  </a:lnTo>
                  <a:lnTo>
                    <a:pt x="2346" y="1353"/>
                  </a:lnTo>
                  <a:lnTo>
                    <a:pt x="2344" y="1361"/>
                  </a:lnTo>
                  <a:lnTo>
                    <a:pt x="2342" y="1375"/>
                  </a:lnTo>
                  <a:lnTo>
                    <a:pt x="2340" y="1391"/>
                  </a:lnTo>
                  <a:lnTo>
                    <a:pt x="2337" y="1407"/>
                  </a:lnTo>
                  <a:lnTo>
                    <a:pt x="2336" y="1424"/>
                  </a:lnTo>
                  <a:lnTo>
                    <a:pt x="2336" y="1441"/>
                  </a:lnTo>
                  <a:lnTo>
                    <a:pt x="2336" y="1457"/>
                  </a:lnTo>
                  <a:lnTo>
                    <a:pt x="2337" y="1474"/>
                  </a:lnTo>
                  <a:lnTo>
                    <a:pt x="2338" y="1489"/>
                  </a:lnTo>
                  <a:lnTo>
                    <a:pt x="2341" y="1505"/>
                  </a:lnTo>
                  <a:lnTo>
                    <a:pt x="2344" y="1519"/>
                  </a:lnTo>
                  <a:lnTo>
                    <a:pt x="2347" y="1534"/>
                  </a:lnTo>
                  <a:lnTo>
                    <a:pt x="2352" y="1548"/>
                  </a:lnTo>
                  <a:lnTo>
                    <a:pt x="2356" y="1562"/>
                  </a:lnTo>
                  <a:lnTo>
                    <a:pt x="2361" y="1574"/>
                  </a:lnTo>
                  <a:lnTo>
                    <a:pt x="2366" y="1586"/>
                  </a:lnTo>
                  <a:lnTo>
                    <a:pt x="2372" y="1597"/>
                  </a:lnTo>
                  <a:lnTo>
                    <a:pt x="2378" y="1608"/>
                  </a:lnTo>
                  <a:lnTo>
                    <a:pt x="2386" y="1619"/>
                  </a:lnTo>
                  <a:lnTo>
                    <a:pt x="2393" y="1629"/>
                  </a:lnTo>
                  <a:lnTo>
                    <a:pt x="2401" y="1638"/>
                  </a:lnTo>
                  <a:lnTo>
                    <a:pt x="2409" y="1647"/>
                  </a:lnTo>
                  <a:lnTo>
                    <a:pt x="2418" y="1656"/>
                  </a:lnTo>
                  <a:lnTo>
                    <a:pt x="2427" y="1664"/>
                  </a:lnTo>
                  <a:lnTo>
                    <a:pt x="2436" y="1670"/>
                  </a:lnTo>
                  <a:lnTo>
                    <a:pt x="2446" y="1677"/>
                  </a:lnTo>
                  <a:lnTo>
                    <a:pt x="2456" y="1684"/>
                  </a:lnTo>
                  <a:lnTo>
                    <a:pt x="2467" y="1689"/>
                  </a:lnTo>
                  <a:lnTo>
                    <a:pt x="2477" y="1695"/>
                  </a:lnTo>
                  <a:lnTo>
                    <a:pt x="2488" y="1699"/>
                  </a:lnTo>
                  <a:lnTo>
                    <a:pt x="2501" y="1703"/>
                  </a:lnTo>
                  <a:lnTo>
                    <a:pt x="2512" y="1706"/>
                  </a:lnTo>
                  <a:lnTo>
                    <a:pt x="2524" y="1709"/>
                  </a:lnTo>
                  <a:lnTo>
                    <a:pt x="2536" y="1712"/>
                  </a:lnTo>
                  <a:lnTo>
                    <a:pt x="2548" y="1714"/>
                  </a:lnTo>
                  <a:lnTo>
                    <a:pt x="2561" y="1715"/>
                  </a:lnTo>
                  <a:lnTo>
                    <a:pt x="2574" y="1716"/>
                  </a:lnTo>
                  <a:lnTo>
                    <a:pt x="2586" y="1716"/>
                  </a:lnTo>
                  <a:lnTo>
                    <a:pt x="2603" y="1716"/>
                  </a:lnTo>
                  <a:lnTo>
                    <a:pt x="2618" y="1715"/>
                  </a:lnTo>
                  <a:lnTo>
                    <a:pt x="2634" y="1713"/>
                  </a:lnTo>
                  <a:lnTo>
                    <a:pt x="2647" y="1709"/>
                  </a:lnTo>
                  <a:lnTo>
                    <a:pt x="2661" y="1706"/>
                  </a:lnTo>
                  <a:lnTo>
                    <a:pt x="2673" y="1702"/>
                  </a:lnTo>
                  <a:lnTo>
                    <a:pt x="2685" y="1697"/>
                  </a:lnTo>
                  <a:lnTo>
                    <a:pt x="2696" y="1692"/>
                  </a:lnTo>
                  <a:lnTo>
                    <a:pt x="2706" y="1686"/>
                  </a:lnTo>
                  <a:lnTo>
                    <a:pt x="2716" y="1679"/>
                  </a:lnTo>
                  <a:lnTo>
                    <a:pt x="2725" y="1673"/>
                  </a:lnTo>
                  <a:lnTo>
                    <a:pt x="2734" y="1666"/>
                  </a:lnTo>
                  <a:lnTo>
                    <a:pt x="2742" y="1658"/>
                  </a:lnTo>
                  <a:lnTo>
                    <a:pt x="2748" y="1652"/>
                  </a:lnTo>
                  <a:lnTo>
                    <a:pt x="2755" y="1644"/>
                  </a:lnTo>
                  <a:lnTo>
                    <a:pt x="2762" y="1636"/>
                  </a:lnTo>
                  <a:lnTo>
                    <a:pt x="2764" y="1636"/>
                  </a:lnTo>
                  <a:lnTo>
                    <a:pt x="2764" y="1670"/>
                  </a:lnTo>
                  <a:lnTo>
                    <a:pt x="2763" y="1687"/>
                  </a:lnTo>
                  <a:lnTo>
                    <a:pt x="2762" y="1703"/>
                  </a:lnTo>
                  <a:lnTo>
                    <a:pt x="2759" y="1716"/>
                  </a:lnTo>
                  <a:lnTo>
                    <a:pt x="2758" y="1723"/>
                  </a:lnTo>
                  <a:lnTo>
                    <a:pt x="2756" y="1728"/>
                  </a:lnTo>
                  <a:lnTo>
                    <a:pt x="2754" y="1734"/>
                  </a:lnTo>
                  <a:lnTo>
                    <a:pt x="2752" y="1739"/>
                  </a:lnTo>
                  <a:lnTo>
                    <a:pt x="2747" y="1749"/>
                  </a:lnTo>
                  <a:lnTo>
                    <a:pt x="2741" y="1758"/>
                  </a:lnTo>
                  <a:lnTo>
                    <a:pt x="2737" y="1763"/>
                  </a:lnTo>
                  <a:lnTo>
                    <a:pt x="2734" y="1766"/>
                  </a:lnTo>
                  <a:lnTo>
                    <a:pt x="2725" y="1773"/>
                  </a:lnTo>
                  <a:lnTo>
                    <a:pt x="2716" y="1778"/>
                  </a:lnTo>
                  <a:lnTo>
                    <a:pt x="2706" y="1783"/>
                  </a:lnTo>
                  <a:lnTo>
                    <a:pt x="2695" y="1786"/>
                  </a:lnTo>
                  <a:lnTo>
                    <a:pt x="2683" y="1789"/>
                  </a:lnTo>
                  <a:lnTo>
                    <a:pt x="2668" y="1790"/>
                  </a:lnTo>
                  <a:lnTo>
                    <a:pt x="2654" y="1792"/>
                  </a:lnTo>
                  <a:lnTo>
                    <a:pt x="2638" y="1792"/>
                  </a:lnTo>
                  <a:lnTo>
                    <a:pt x="2623" y="1792"/>
                  </a:lnTo>
                  <a:lnTo>
                    <a:pt x="2605" y="1790"/>
                  </a:lnTo>
                  <a:lnTo>
                    <a:pt x="2585" y="1789"/>
                  </a:lnTo>
                  <a:lnTo>
                    <a:pt x="2563" y="1787"/>
                  </a:lnTo>
                  <a:lnTo>
                    <a:pt x="2538" y="1783"/>
                  </a:lnTo>
                  <a:lnTo>
                    <a:pt x="2513" y="1778"/>
                  </a:lnTo>
                  <a:lnTo>
                    <a:pt x="2484" y="1773"/>
                  </a:lnTo>
                  <a:lnTo>
                    <a:pt x="2452" y="1766"/>
                  </a:lnTo>
                  <a:lnTo>
                    <a:pt x="2424" y="1928"/>
                  </a:lnTo>
                  <a:lnTo>
                    <a:pt x="2456" y="1934"/>
                  </a:lnTo>
                  <a:lnTo>
                    <a:pt x="2489" y="1939"/>
                  </a:lnTo>
                  <a:lnTo>
                    <a:pt x="2521" y="1944"/>
                  </a:lnTo>
                  <a:lnTo>
                    <a:pt x="2551" y="1948"/>
                  </a:lnTo>
                  <a:lnTo>
                    <a:pt x="2578" y="1950"/>
                  </a:lnTo>
                  <a:lnTo>
                    <a:pt x="2605" y="1953"/>
                  </a:lnTo>
                  <a:lnTo>
                    <a:pt x="2629" y="1954"/>
                  </a:lnTo>
                  <a:lnTo>
                    <a:pt x="2651" y="1954"/>
                  </a:lnTo>
                  <a:close/>
                  <a:moveTo>
                    <a:pt x="2636" y="1566"/>
                  </a:moveTo>
                  <a:lnTo>
                    <a:pt x="2623" y="1565"/>
                  </a:lnTo>
                  <a:lnTo>
                    <a:pt x="2617" y="1565"/>
                  </a:lnTo>
                  <a:lnTo>
                    <a:pt x="2611" y="1564"/>
                  </a:lnTo>
                  <a:lnTo>
                    <a:pt x="2599" y="1560"/>
                  </a:lnTo>
                  <a:lnTo>
                    <a:pt x="2594" y="1559"/>
                  </a:lnTo>
                  <a:lnTo>
                    <a:pt x="2588" y="1557"/>
                  </a:lnTo>
                  <a:lnTo>
                    <a:pt x="2577" y="1552"/>
                  </a:lnTo>
                  <a:lnTo>
                    <a:pt x="2567" y="1546"/>
                  </a:lnTo>
                  <a:lnTo>
                    <a:pt x="2563" y="1543"/>
                  </a:lnTo>
                  <a:lnTo>
                    <a:pt x="2558" y="1539"/>
                  </a:lnTo>
                  <a:lnTo>
                    <a:pt x="2549" y="1532"/>
                  </a:lnTo>
                  <a:lnTo>
                    <a:pt x="2542" y="1524"/>
                  </a:lnTo>
                  <a:lnTo>
                    <a:pt x="2535" y="1514"/>
                  </a:lnTo>
                  <a:lnTo>
                    <a:pt x="2528" y="1504"/>
                  </a:lnTo>
                  <a:lnTo>
                    <a:pt x="2526" y="1498"/>
                  </a:lnTo>
                  <a:lnTo>
                    <a:pt x="2524" y="1493"/>
                  </a:lnTo>
                  <a:lnTo>
                    <a:pt x="2519" y="1482"/>
                  </a:lnTo>
                  <a:lnTo>
                    <a:pt x="2516" y="1468"/>
                  </a:lnTo>
                  <a:lnTo>
                    <a:pt x="2515" y="1462"/>
                  </a:lnTo>
                  <a:lnTo>
                    <a:pt x="2515" y="1455"/>
                  </a:lnTo>
                  <a:lnTo>
                    <a:pt x="2514" y="1442"/>
                  </a:lnTo>
                  <a:lnTo>
                    <a:pt x="2515" y="1427"/>
                  </a:lnTo>
                  <a:lnTo>
                    <a:pt x="2516" y="1415"/>
                  </a:lnTo>
                  <a:lnTo>
                    <a:pt x="2518" y="1408"/>
                  </a:lnTo>
                  <a:lnTo>
                    <a:pt x="2519" y="1402"/>
                  </a:lnTo>
                  <a:lnTo>
                    <a:pt x="2524" y="1391"/>
                  </a:lnTo>
                  <a:lnTo>
                    <a:pt x="2526" y="1385"/>
                  </a:lnTo>
                  <a:lnTo>
                    <a:pt x="2528" y="1379"/>
                  </a:lnTo>
                  <a:lnTo>
                    <a:pt x="2535" y="1369"/>
                  </a:lnTo>
                  <a:lnTo>
                    <a:pt x="2542" y="1359"/>
                  </a:lnTo>
                  <a:lnTo>
                    <a:pt x="2549" y="1351"/>
                  </a:lnTo>
                  <a:lnTo>
                    <a:pt x="2554" y="1347"/>
                  </a:lnTo>
                  <a:lnTo>
                    <a:pt x="2558" y="1344"/>
                  </a:lnTo>
                  <a:lnTo>
                    <a:pt x="2563" y="1341"/>
                  </a:lnTo>
                  <a:lnTo>
                    <a:pt x="2567" y="1337"/>
                  </a:lnTo>
                  <a:lnTo>
                    <a:pt x="2577" y="1331"/>
                  </a:lnTo>
                  <a:lnTo>
                    <a:pt x="2588" y="1326"/>
                  </a:lnTo>
                  <a:lnTo>
                    <a:pt x="2599" y="1323"/>
                  </a:lnTo>
                  <a:lnTo>
                    <a:pt x="2611" y="1319"/>
                  </a:lnTo>
                  <a:lnTo>
                    <a:pt x="2617" y="1318"/>
                  </a:lnTo>
                  <a:lnTo>
                    <a:pt x="2623" y="1318"/>
                  </a:lnTo>
                  <a:lnTo>
                    <a:pt x="2636" y="1317"/>
                  </a:lnTo>
                  <a:lnTo>
                    <a:pt x="2649" y="1318"/>
                  </a:lnTo>
                  <a:lnTo>
                    <a:pt x="2662" y="1319"/>
                  </a:lnTo>
                  <a:lnTo>
                    <a:pt x="2674" y="1323"/>
                  </a:lnTo>
                  <a:lnTo>
                    <a:pt x="2679" y="1324"/>
                  </a:lnTo>
                  <a:lnTo>
                    <a:pt x="2685" y="1326"/>
                  </a:lnTo>
                  <a:lnTo>
                    <a:pt x="2696" y="1331"/>
                  </a:lnTo>
                  <a:lnTo>
                    <a:pt x="2701" y="1334"/>
                  </a:lnTo>
                  <a:lnTo>
                    <a:pt x="2706" y="1337"/>
                  </a:lnTo>
                  <a:lnTo>
                    <a:pt x="2711" y="1341"/>
                  </a:lnTo>
                  <a:lnTo>
                    <a:pt x="2715" y="1344"/>
                  </a:lnTo>
                  <a:lnTo>
                    <a:pt x="2724" y="1351"/>
                  </a:lnTo>
                  <a:lnTo>
                    <a:pt x="2732" y="1359"/>
                  </a:lnTo>
                  <a:lnTo>
                    <a:pt x="2738" y="1369"/>
                  </a:lnTo>
                  <a:lnTo>
                    <a:pt x="2745" y="1379"/>
                  </a:lnTo>
                  <a:lnTo>
                    <a:pt x="2747" y="1385"/>
                  </a:lnTo>
                  <a:lnTo>
                    <a:pt x="2749" y="1391"/>
                  </a:lnTo>
                  <a:lnTo>
                    <a:pt x="2754" y="1402"/>
                  </a:lnTo>
                  <a:lnTo>
                    <a:pt x="2756" y="1415"/>
                  </a:lnTo>
                  <a:lnTo>
                    <a:pt x="2757" y="1421"/>
                  </a:lnTo>
                  <a:lnTo>
                    <a:pt x="2758" y="1427"/>
                  </a:lnTo>
                  <a:lnTo>
                    <a:pt x="2759" y="1442"/>
                  </a:lnTo>
                  <a:lnTo>
                    <a:pt x="2758" y="1455"/>
                  </a:lnTo>
                  <a:lnTo>
                    <a:pt x="2756" y="1468"/>
                  </a:lnTo>
                  <a:lnTo>
                    <a:pt x="2755" y="1475"/>
                  </a:lnTo>
                  <a:lnTo>
                    <a:pt x="2754" y="1482"/>
                  </a:lnTo>
                  <a:lnTo>
                    <a:pt x="2749" y="1493"/>
                  </a:lnTo>
                  <a:lnTo>
                    <a:pt x="2747" y="1498"/>
                  </a:lnTo>
                  <a:lnTo>
                    <a:pt x="2745" y="1504"/>
                  </a:lnTo>
                  <a:lnTo>
                    <a:pt x="2738" y="1514"/>
                  </a:lnTo>
                  <a:lnTo>
                    <a:pt x="2732" y="1524"/>
                  </a:lnTo>
                  <a:lnTo>
                    <a:pt x="2724" y="1532"/>
                  </a:lnTo>
                  <a:lnTo>
                    <a:pt x="2719" y="1536"/>
                  </a:lnTo>
                  <a:lnTo>
                    <a:pt x="2715" y="1539"/>
                  </a:lnTo>
                  <a:lnTo>
                    <a:pt x="2711" y="1543"/>
                  </a:lnTo>
                  <a:lnTo>
                    <a:pt x="2706" y="1546"/>
                  </a:lnTo>
                  <a:lnTo>
                    <a:pt x="2696" y="1552"/>
                  </a:lnTo>
                  <a:lnTo>
                    <a:pt x="2685" y="1557"/>
                  </a:lnTo>
                  <a:lnTo>
                    <a:pt x="2674" y="1560"/>
                  </a:lnTo>
                  <a:lnTo>
                    <a:pt x="2662" y="1564"/>
                  </a:lnTo>
                  <a:lnTo>
                    <a:pt x="2649" y="1565"/>
                  </a:lnTo>
                  <a:lnTo>
                    <a:pt x="2636" y="1566"/>
                  </a:lnTo>
                  <a:close/>
                  <a:moveTo>
                    <a:pt x="3254" y="1160"/>
                  </a:moveTo>
                  <a:lnTo>
                    <a:pt x="3239" y="1161"/>
                  </a:lnTo>
                  <a:lnTo>
                    <a:pt x="3224" y="1162"/>
                  </a:lnTo>
                  <a:lnTo>
                    <a:pt x="3209" y="1163"/>
                  </a:lnTo>
                  <a:lnTo>
                    <a:pt x="3195" y="1165"/>
                  </a:lnTo>
                  <a:lnTo>
                    <a:pt x="3181" y="1167"/>
                  </a:lnTo>
                  <a:lnTo>
                    <a:pt x="3167" y="1171"/>
                  </a:lnTo>
                  <a:lnTo>
                    <a:pt x="3154" y="1175"/>
                  </a:lnTo>
                  <a:lnTo>
                    <a:pt x="3141" y="1179"/>
                  </a:lnTo>
                  <a:lnTo>
                    <a:pt x="3129" y="1184"/>
                  </a:lnTo>
                  <a:lnTo>
                    <a:pt x="3117" y="1189"/>
                  </a:lnTo>
                  <a:lnTo>
                    <a:pt x="3105" y="1196"/>
                  </a:lnTo>
                  <a:lnTo>
                    <a:pt x="3094" y="1203"/>
                  </a:lnTo>
                  <a:lnTo>
                    <a:pt x="3083" y="1209"/>
                  </a:lnTo>
                  <a:lnTo>
                    <a:pt x="3073" y="1217"/>
                  </a:lnTo>
                  <a:lnTo>
                    <a:pt x="3063" y="1226"/>
                  </a:lnTo>
                  <a:lnTo>
                    <a:pt x="3053" y="1235"/>
                  </a:lnTo>
                  <a:lnTo>
                    <a:pt x="3044" y="1244"/>
                  </a:lnTo>
                  <a:lnTo>
                    <a:pt x="3035" y="1254"/>
                  </a:lnTo>
                  <a:lnTo>
                    <a:pt x="3027" y="1264"/>
                  </a:lnTo>
                  <a:lnTo>
                    <a:pt x="3019" y="1275"/>
                  </a:lnTo>
                  <a:lnTo>
                    <a:pt x="3013" y="1287"/>
                  </a:lnTo>
                  <a:lnTo>
                    <a:pt x="3006" y="1298"/>
                  </a:lnTo>
                  <a:lnTo>
                    <a:pt x="3003" y="1305"/>
                  </a:lnTo>
                  <a:lnTo>
                    <a:pt x="2999" y="1311"/>
                  </a:lnTo>
                  <a:lnTo>
                    <a:pt x="2995" y="1324"/>
                  </a:lnTo>
                  <a:lnTo>
                    <a:pt x="2989" y="1337"/>
                  </a:lnTo>
                  <a:lnTo>
                    <a:pt x="2986" y="1352"/>
                  </a:lnTo>
                  <a:lnTo>
                    <a:pt x="2982" y="1365"/>
                  </a:lnTo>
                  <a:lnTo>
                    <a:pt x="2979" y="1381"/>
                  </a:lnTo>
                  <a:lnTo>
                    <a:pt x="2977" y="1395"/>
                  </a:lnTo>
                  <a:lnTo>
                    <a:pt x="2975" y="1412"/>
                  </a:lnTo>
                  <a:lnTo>
                    <a:pt x="2974" y="1427"/>
                  </a:lnTo>
                  <a:lnTo>
                    <a:pt x="2974" y="1444"/>
                  </a:lnTo>
                  <a:lnTo>
                    <a:pt x="2974" y="1459"/>
                  </a:lnTo>
                  <a:lnTo>
                    <a:pt x="2975" y="1475"/>
                  </a:lnTo>
                  <a:lnTo>
                    <a:pt x="2977" y="1489"/>
                  </a:lnTo>
                  <a:lnTo>
                    <a:pt x="2979" y="1505"/>
                  </a:lnTo>
                  <a:lnTo>
                    <a:pt x="2982" y="1518"/>
                  </a:lnTo>
                  <a:lnTo>
                    <a:pt x="2986" y="1533"/>
                  </a:lnTo>
                  <a:lnTo>
                    <a:pt x="2990" y="1546"/>
                  </a:lnTo>
                  <a:lnTo>
                    <a:pt x="2993" y="1553"/>
                  </a:lnTo>
                  <a:lnTo>
                    <a:pt x="2995" y="1559"/>
                  </a:lnTo>
                  <a:lnTo>
                    <a:pt x="3000" y="1572"/>
                  </a:lnTo>
                  <a:lnTo>
                    <a:pt x="3006" y="1584"/>
                  </a:lnTo>
                  <a:lnTo>
                    <a:pt x="3013" y="1596"/>
                  </a:lnTo>
                  <a:lnTo>
                    <a:pt x="3020" y="1607"/>
                  </a:lnTo>
                  <a:lnTo>
                    <a:pt x="3028" y="1617"/>
                  </a:lnTo>
                  <a:lnTo>
                    <a:pt x="3037" y="1628"/>
                  </a:lnTo>
                  <a:lnTo>
                    <a:pt x="3046" y="1638"/>
                  </a:lnTo>
                  <a:lnTo>
                    <a:pt x="3055" y="1647"/>
                  </a:lnTo>
                  <a:lnTo>
                    <a:pt x="3065" y="1656"/>
                  </a:lnTo>
                  <a:lnTo>
                    <a:pt x="3076" y="1665"/>
                  </a:lnTo>
                  <a:lnTo>
                    <a:pt x="3086" y="1673"/>
                  </a:lnTo>
                  <a:lnTo>
                    <a:pt x="3098" y="1680"/>
                  </a:lnTo>
                  <a:lnTo>
                    <a:pt x="3110" y="1687"/>
                  </a:lnTo>
                  <a:lnTo>
                    <a:pt x="3123" y="1693"/>
                  </a:lnTo>
                  <a:lnTo>
                    <a:pt x="3135" y="1699"/>
                  </a:lnTo>
                  <a:lnTo>
                    <a:pt x="3148" y="1704"/>
                  </a:lnTo>
                  <a:lnTo>
                    <a:pt x="3163" y="1709"/>
                  </a:lnTo>
                  <a:lnTo>
                    <a:pt x="3177" y="1713"/>
                  </a:lnTo>
                  <a:lnTo>
                    <a:pt x="3191" y="1716"/>
                  </a:lnTo>
                  <a:lnTo>
                    <a:pt x="3206" y="1719"/>
                  </a:lnTo>
                  <a:lnTo>
                    <a:pt x="3221" y="1722"/>
                  </a:lnTo>
                  <a:lnTo>
                    <a:pt x="3237" y="1723"/>
                  </a:lnTo>
                  <a:lnTo>
                    <a:pt x="3254" y="1724"/>
                  </a:lnTo>
                  <a:lnTo>
                    <a:pt x="3270" y="1724"/>
                  </a:lnTo>
                  <a:lnTo>
                    <a:pt x="3287" y="1724"/>
                  </a:lnTo>
                  <a:lnTo>
                    <a:pt x="3304" y="1723"/>
                  </a:lnTo>
                  <a:lnTo>
                    <a:pt x="3319" y="1722"/>
                  </a:lnTo>
                  <a:lnTo>
                    <a:pt x="3335" y="1719"/>
                  </a:lnTo>
                  <a:lnTo>
                    <a:pt x="3350" y="1717"/>
                  </a:lnTo>
                  <a:lnTo>
                    <a:pt x="3365" y="1714"/>
                  </a:lnTo>
                  <a:lnTo>
                    <a:pt x="3379" y="1710"/>
                  </a:lnTo>
                  <a:lnTo>
                    <a:pt x="3393" y="1706"/>
                  </a:lnTo>
                  <a:lnTo>
                    <a:pt x="3406" y="1702"/>
                  </a:lnTo>
                  <a:lnTo>
                    <a:pt x="3419" y="1697"/>
                  </a:lnTo>
                  <a:lnTo>
                    <a:pt x="3445" y="1686"/>
                  </a:lnTo>
                  <a:lnTo>
                    <a:pt x="3456" y="1680"/>
                  </a:lnTo>
                  <a:lnTo>
                    <a:pt x="3468" y="1675"/>
                  </a:lnTo>
                  <a:lnTo>
                    <a:pt x="3489" y="1663"/>
                  </a:lnTo>
                  <a:lnTo>
                    <a:pt x="3426" y="1532"/>
                  </a:lnTo>
                  <a:lnTo>
                    <a:pt x="3413" y="1539"/>
                  </a:lnTo>
                  <a:lnTo>
                    <a:pt x="3397" y="1548"/>
                  </a:lnTo>
                  <a:lnTo>
                    <a:pt x="3380" y="1556"/>
                  </a:lnTo>
                  <a:lnTo>
                    <a:pt x="3361" y="1564"/>
                  </a:lnTo>
                  <a:lnTo>
                    <a:pt x="3340" y="1570"/>
                  </a:lnTo>
                  <a:lnTo>
                    <a:pt x="3330" y="1573"/>
                  </a:lnTo>
                  <a:lnTo>
                    <a:pt x="3319" y="1575"/>
                  </a:lnTo>
                  <a:lnTo>
                    <a:pt x="3308" y="1577"/>
                  </a:lnTo>
                  <a:lnTo>
                    <a:pt x="3296" y="1578"/>
                  </a:lnTo>
                  <a:lnTo>
                    <a:pt x="3285" y="1579"/>
                  </a:lnTo>
                  <a:lnTo>
                    <a:pt x="3273" y="1579"/>
                  </a:lnTo>
                  <a:lnTo>
                    <a:pt x="3259" y="1579"/>
                  </a:lnTo>
                  <a:lnTo>
                    <a:pt x="3247" y="1578"/>
                  </a:lnTo>
                  <a:lnTo>
                    <a:pt x="3235" y="1576"/>
                  </a:lnTo>
                  <a:lnTo>
                    <a:pt x="3223" y="1574"/>
                  </a:lnTo>
                  <a:lnTo>
                    <a:pt x="3217" y="1573"/>
                  </a:lnTo>
                  <a:lnTo>
                    <a:pt x="3211" y="1570"/>
                  </a:lnTo>
                  <a:lnTo>
                    <a:pt x="3201" y="1566"/>
                  </a:lnTo>
                  <a:lnTo>
                    <a:pt x="3191" y="1562"/>
                  </a:lnTo>
                  <a:lnTo>
                    <a:pt x="3183" y="1556"/>
                  </a:lnTo>
                  <a:lnTo>
                    <a:pt x="3174" y="1549"/>
                  </a:lnTo>
                  <a:lnTo>
                    <a:pt x="3166" y="1543"/>
                  </a:lnTo>
                  <a:lnTo>
                    <a:pt x="3159" y="1535"/>
                  </a:lnTo>
                  <a:lnTo>
                    <a:pt x="3153" y="1526"/>
                  </a:lnTo>
                  <a:lnTo>
                    <a:pt x="3147" y="1516"/>
                  </a:lnTo>
                  <a:lnTo>
                    <a:pt x="3143" y="1506"/>
                  </a:lnTo>
                  <a:lnTo>
                    <a:pt x="3139" y="1495"/>
                  </a:lnTo>
                  <a:lnTo>
                    <a:pt x="3138" y="1489"/>
                  </a:lnTo>
                  <a:lnTo>
                    <a:pt x="3137" y="1483"/>
                  </a:lnTo>
                  <a:lnTo>
                    <a:pt x="3517" y="1483"/>
                  </a:lnTo>
                  <a:lnTo>
                    <a:pt x="3517" y="1444"/>
                  </a:lnTo>
                  <a:lnTo>
                    <a:pt x="3517" y="1426"/>
                  </a:lnTo>
                  <a:lnTo>
                    <a:pt x="3516" y="1409"/>
                  </a:lnTo>
                  <a:lnTo>
                    <a:pt x="3515" y="1393"/>
                  </a:lnTo>
                  <a:lnTo>
                    <a:pt x="3512" y="1376"/>
                  </a:lnTo>
                  <a:lnTo>
                    <a:pt x="3509" y="1362"/>
                  </a:lnTo>
                  <a:lnTo>
                    <a:pt x="3508" y="1354"/>
                  </a:lnTo>
                  <a:lnTo>
                    <a:pt x="3507" y="1346"/>
                  </a:lnTo>
                  <a:lnTo>
                    <a:pt x="3502" y="1332"/>
                  </a:lnTo>
                  <a:lnTo>
                    <a:pt x="3498" y="1318"/>
                  </a:lnTo>
                  <a:lnTo>
                    <a:pt x="3494" y="1305"/>
                  </a:lnTo>
                  <a:lnTo>
                    <a:pt x="3488" y="1293"/>
                  </a:lnTo>
                  <a:lnTo>
                    <a:pt x="3483" y="1281"/>
                  </a:lnTo>
                  <a:lnTo>
                    <a:pt x="3476" y="1269"/>
                  </a:lnTo>
                  <a:lnTo>
                    <a:pt x="3469" y="1259"/>
                  </a:lnTo>
                  <a:lnTo>
                    <a:pt x="3461" y="1248"/>
                  </a:lnTo>
                  <a:lnTo>
                    <a:pt x="3454" y="1239"/>
                  </a:lnTo>
                  <a:lnTo>
                    <a:pt x="3446" y="1229"/>
                  </a:lnTo>
                  <a:lnTo>
                    <a:pt x="3437" y="1222"/>
                  </a:lnTo>
                  <a:lnTo>
                    <a:pt x="3427" y="1214"/>
                  </a:lnTo>
                  <a:lnTo>
                    <a:pt x="3418" y="1206"/>
                  </a:lnTo>
                  <a:lnTo>
                    <a:pt x="3407" y="1199"/>
                  </a:lnTo>
                  <a:lnTo>
                    <a:pt x="3397" y="1193"/>
                  </a:lnTo>
                  <a:lnTo>
                    <a:pt x="3386" y="1187"/>
                  </a:lnTo>
                  <a:lnTo>
                    <a:pt x="3375" y="1182"/>
                  </a:lnTo>
                  <a:lnTo>
                    <a:pt x="3363" y="1177"/>
                  </a:lnTo>
                  <a:lnTo>
                    <a:pt x="3350" y="1173"/>
                  </a:lnTo>
                  <a:lnTo>
                    <a:pt x="3337" y="1169"/>
                  </a:lnTo>
                  <a:lnTo>
                    <a:pt x="3325" y="1167"/>
                  </a:lnTo>
                  <a:lnTo>
                    <a:pt x="3311" y="1164"/>
                  </a:lnTo>
                  <a:lnTo>
                    <a:pt x="3297" y="1163"/>
                  </a:lnTo>
                  <a:lnTo>
                    <a:pt x="3284" y="1161"/>
                  </a:lnTo>
                  <a:lnTo>
                    <a:pt x="3269" y="1161"/>
                  </a:lnTo>
                  <a:lnTo>
                    <a:pt x="3254" y="1160"/>
                  </a:lnTo>
                  <a:close/>
                  <a:moveTo>
                    <a:pt x="3248" y="1283"/>
                  </a:moveTo>
                  <a:lnTo>
                    <a:pt x="3258" y="1284"/>
                  </a:lnTo>
                  <a:lnTo>
                    <a:pt x="3268" y="1285"/>
                  </a:lnTo>
                  <a:lnTo>
                    <a:pt x="3278" y="1287"/>
                  </a:lnTo>
                  <a:lnTo>
                    <a:pt x="3287" y="1289"/>
                  </a:lnTo>
                  <a:lnTo>
                    <a:pt x="3296" y="1293"/>
                  </a:lnTo>
                  <a:lnTo>
                    <a:pt x="3305" y="1297"/>
                  </a:lnTo>
                  <a:lnTo>
                    <a:pt x="3311" y="1303"/>
                  </a:lnTo>
                  <a:lnTo>
                    <a:pt x="3319" y="1308"/>
                  </a:lnTo>
                  <a:lnTo>
                    <a:pt x="3323" y="1312"/>
                  </a:lnTo>
                  <a:lnTo>
                    <a:pt x="3326" y="1315"/>
                  </a:lnTo>
                  <a:lnTo>
                    <a:pt x="3331" y="1323"/>
                  </a:lnTo>
                  <a:lnTo>
                    <a:pt x="3336" y="1331"/>
                  </a:lnTo>
                  <a:lnTo>
                    <a:pt x="3340" y="1339"/>
                  </a:lnTo>
                  <a:lnTo>
                    <a:pt x="3344" y="1348"/>
                  </a:lnTo>
                  <a:lnTo>
                    <a:pt x="3347" y="1358"/>
                  </a:lnTo>
                  <a:lnTo>
                    <a:pt x="3348" y="1364"/>
                  </a:lnTo>
                  <a:lnTo>
                    <a:pt x="3348" y="1369"/>
                  </a:lnTo>
                  <a:lnTo>
                    <a:pt x="3349" y="1375"/>
                  </a:lnTo>
                  <a:lnTo>
                    <a:pt x="3349" y="1381"/>
                  </a:lnTo>
                  <a:lnTo>
                    <a:pt x="3138" y="1381"/>
                  </a:lnTo>
                  <a:lnTo>
                    <a:pt x="3139" y="1368"/>
                  </a:lnTo>
                  <a:lnTo>
                    <a:pt x="3143" y="1357"/>
                  </a:lnTo>
                  <a:lnTo>
                    <a:pt x="3146" y="1346"/>
                  </a:lnTo>
                  <a:lnTo>
                    <a:pt x="3150" y="1336"/>
                  </a:lnTo>
                  <a:lnTo>
                    <a:pt x="3153" y="1332"/>
                  </a:lnTo>
                  <a:lnTo>
                    <a:pt x="3155" y="1327"/>
                  </a:lnTo>
                  <a:lnTo>
                    <a:pt x="3160" y="1319"/>
                  </a:lnTo>
                  <a:lnTo>
                    <a:pt x="3167" y="1313"/>
                  </a:lnTo>
                  <a:lnTo>
                    <a:pt x="3174" y="1306"/>
                  </a:lnTo>
                  <a:lnTo>
                    <a:pt x="3181" y="1301"/>
                  </a:lnTo>
                  <a:lnTo>
                    <a:pt x="3189" y="1296"/>
                  </a:lnTo>
                  <a:lnTo>
                    <a:pt x="3198" y="1292"/>
                  </a:lnTo>
                  <a:lnTo>
                    <a:pt x="3207" y="1288"/>
                  </a:lnTo>
                  <a:lnTo>
                    <a:pt x="3217" y="1286"/>
                  </a:lnTo>
                  <a:lnTo>
                    <a:pt x="3227" y="1284"/>
                  </a:lnTo>
                  <a:lnTo>
                    <a:pt x="3237" y="1283"/>
                  </a:lnTo>
                  <a:lnTo>
                    <a:pt x="3248" y="1283"/>
                  </a:lnTo>
                  <a:close/>
                  <a:moveTo>
                    <a:pt x="292" y="601"/>
                  </a:moveTo>
                  <a:lnTo>
                    <a:pt x="292" y="614"/>
                  </a:lnTo>
                  <a:lnTo>
                    <a:pt x="292" y="626"/>
                  </a:lnTo>
                  <a:lnTo>
                    <a:pt x="290" y="651"/>
                  </a:lnTo>
                  <a:lnTo>
                    <a:pt x="288" y="662"/>
                  </a:lnTo>
                  <a:lnTo>
                    <a:pt x="286" y="672"/>
                  </a:lnTo>
                  <a:lnTo>
                    <a:pt x="283" y="683"/>
                  </a:lnTo>
                  <a:lnTo>
                    <a:pt x="280" y="693"/>
                  </a:lnTo>
                  <a:lnTo>
                    <a:pt x="277" y="702"/>
                  </a:lnTo>
                  <a:lnTo>
                    <a:pt x="273" y="712"/>
                  </a:lnTo>
                  <a:lnTo>
                    <a:pt x="269" y="721"/>
                  </a:lnTo>
                  <a:lnTo>
                    <a:pt x="265" y="729"/>
                  </a:lnTo>
                  <a:lnTo>
                    <a:pt x="259" y="736"/>
                  </a:lnTo>
                  <a:lnTo>
                    <a:pt x="253" y="744"/>
                  </a:lnTo>
                  <a:lnTo>
                    <a:pt x="248" y="751"/>
                  </a:lnTo>
                  <a:lnTo>
                    <a:pt x="242" y="757"/>
                  </a:lnTo>
                  <a:lnTo>
                    <a:pt x="236" y="763"/>
                  </a:lnTo>
                  <a:lnTo>
                    <a:pt x="228" y="770"/>
                  </a:lnTo>
                  <a:lnTo>
                    <a:pt x="221" y="774"/>
                  </a:lnTo>
                  <a:lnTo>
                    <a:pt x="213" y="780"/>
                  </a:lnTo>
                  <a:lnTo>
                    <a:pt x="205" y="784"/>
                  </a:lnTo>
                  <a:lnTo>
                    <a:pt x="196" y="789"/>
                  </a:lnTo>
                  <a:lnTo>
                    <a:pt x="187" y="792"/>
                  </a:lnTo>
                  <a:lnTo>
                    <a:pt x="178" y="795"/>
                  </a:lnTo>
                  <a:lnTo>
                    <a:pt x="168" y="797"/>
                  </a:lnTo>
                  <a:lnTo>
                    <a:pt x="157" y="801"/>
                  </a:lnTo>
                  <a:lnTo>
                    <a:pt x="147" y="803"/>
                  </a:lnTo>
                  <a:lnTo>
                    <a:pt x="136" y="804"/>
                  </a:lnTo>
                  <a:lnTo>
                    <a:pt x="123" y="805"/>
                  </a:lnTo>
                  <a:lnTo>
                    <a:pt x="111" y="806"/>
                  </a:lnTo>
                  <a:lnTo>
                    <a:pt x="99" y="807"/>
                  </a:lnTo>
                  <a:lnTo>
                    <a:pt x="86" y="807"/>
                  </a:lnTo>
                  <a:lnTo>
                    <a:pt x="29" y="807"/>
                  </a:lnTo>
                  <a:lnTo>
                    <a:pt x="29" y="641"/>
                  </a:lnTo>
                  <a:lnTo>
                    <a:pt x="68" y="641"/>
                  </a:lnTo>
                  <a:lnTo>
                    <a:pt x="78" y="640"/>
                  </a:lnTo>
                  <a:lnTo>
                    <a:pt x="82" y="639"/>
                  </a:lnTo>
                  <a:lnTo>
                    <a:pt x="87" y="637"/>
                  </a:lnTo>
                  <a:lnTo>
                    <a:pt x="91" y="635"/>
                  </a:lnTo>
                  <a:lnTo>
                    <a:pt x="96" y="633"/>
                  </a:lnTo>
                  <a:lnTo>
                    <a:pt x="99" y="630"/>
                  </a:lnTo>
                  <a:lnTo>
                    <a:pt x="102" y="626"/>
                  </a:lnTo>
                  <a:lnTo>
                    <a:pt x="108" y="619"/>
                  </a:lnTo>
                  <a:lnTo>
                    <a:pt x="110" y="614"/>
                  </a:lnTo>
                  <a:lnTo>
                    <a:pt x="111" y="610"/>
                  </a:lnTo>
                  <a:lnTo>
                    <a:pt x="112" y="604"/>
                  </a:lnTo>
                  <a:lnTo>
                    <a:pt x="113" y="597"/>
                  </a:lnTo>
                  <a:lnTo>
                    <a:pt x="115" y="591"/>
                  </a:lnTo>
                  <a:lnTo>
                    <a:pt x="115" y="584"/>
                  </a:lnTo>
                  <a:lnTo>
                    <a:pt x="115" y="0"/>
                  </a:lnTo>
                  <a:lnTo>
                    <a:pt x="292" y="0"/>
                  </a:lnTo>
                  <a:lnTo>
                    <a:pt x="292" y="601"/>
                  </a:lnTo>
                  <a:close/>
                  <a:moveTo>
                    <a:pt x="929" y="539"/>
                  </a:moveTo>
                  <a:lnTo>
                    <a:pt x="929" y="554"/>
                  </a:lnTo>
                  <a:lnTo>
                    <a:pt x="928" y="570"/>
                  </a:lnTo>
                  <a:lnTo>
                    <a:pt x="925" y="584"/>
                  </a:lnTo>
                  <a:lnTo>
                    <a:pt x="923" y="600"/>
                  </a:lnTo>
                  <a:lnTo>
                    <a:pt x="920" y="614"/>
                  </a:lnTo>
                  <a:lnTo>
                    <a:pt x="917" y="627"/>
                  </a:lnTo>
                  <a:lnTo>
                    <a:pt x="912" y="641"/>
                  </a:lnTo>
                  <a:lnTo>
                    <a:pt x="907" y="654"/>
                  </a:lnTo>
                  <a:lnTo>
                    <a:pt x="901" y="667"/>
                  </a:lnTo>
                  <a:lnTo>
                    <a:pt x="894" y="680"/>
                  </a:lnTo>
                  <a:lnTo>
                    <a:pt x="888" y="691"/>
                  </a:lnTo>
                  <a:lnTo>
                    <a:pt x="880" y="703"/>
                  </a:lnTo>
                  <a:lnTo>
                    <a:pt x="872" y="713"/>
                  </a:lnTo>
                  <a:lnTo>
                    <a:pt x="863" y="724"/>
                  </a:lnTo>
                  <a:lnTo>
                    <a:pt x="854" y="734"/>
                  </a:lnTo>
                  <a:lnTo>
                    <a:pt x="844" y="743"/>
                  </a:lnTo>
                  <a:lnTo>
                    <a:pt x="834" y="753"/>
                  </a:lnTo>
                  <a:lnTo>
                    <a:pt x="823" y="761"/>
                  </a:lnTo>
                  <a:lnTo>
                    <a:pt x="812" y="769"/>
                  </a:lnTo>
                  <a:lnTo>
                    <a:pt x="800" y="776"/>
                  </a:lnTo>
                  <a:lnTo>
                    <a:pt x="789" y="783"/>
                  </a:lnTo>
                  <a:lnTo>
                    <a:pt x="776" y="790"/>
                  </a:lnTo>
                  <a:lnTo>
                    <a:pt x="763" y="795"/>
                  </a:lnTo>
                  <a:lnTo>
                    <a:pt x="750" y="801"/>
                  </a:lnTo>
                  <a:lnTo>
                    <a:pt x="736" y="805"/>
                  </a:lnTo>
                  <a:lnTo>
                    <a:pt x="722" y="810"/>
                  </a:lnTo>
                  <a:lnTo>
                    <a:pt x="708" y="813"/>
                  </a:lnTo>
                  <a:lnTo>
                    <a:pt x="692" y="816"/>
                  </a:lnTo>
                  <a:lnTo>
                    <a:pt x="678" y="819"/>
                  </a:lnTo>
                  <a:lnTo>
                    <a:pt x="662" y="820"/>
                  </a:lnTo>
                  <a:lnTo>
                    <a:pt x="647" y="821"/>
                  </a:lnTo>
                  <a:lnTo>
                    <a:pt x="630" y="821"/>
                  </a:lnTo>
                  <a:lnTo>
                    <a:pt x="614" y="821"/>
                  </a:lnTo>
                  <a:lnTo>
                    <a:pt x="599" y="820"/>
                  </a:lnTo>
                  <a:lnTo>
                    <a:pt x="583" y="819"/>
                  </a:lnTo>
                  <a:lnTo>
                    <a:pt x="568" y="816"/>
                  </a:lnTo>
                  <a:lnTo>
                    <a:pt x="553" y="813"/>
                  </a:lnTo>
                  <a:lnTo>
                    <a:pt x="539" y="810"/>
                  </a:lnTo>
                  <a:lnTo>
                    <a:pt x="526" y="805"/>
                  </a:lnTo>
                  <a:lnTo>
                    <a:pt x="511" y="801"/>
                  </a:lnTo>
                  <a:lnTo>
                    <a:pt x="498" y="795"/>
                  </a:lnTo>
                  <a:lnTo>
                    <a:pt x="486" y="790"/>
                  </a:lnTo>
                  <a:lnTo>
                    <a:pt x="473" y="783"/>
                  </a:lnTo>
                  <a:lnTo>
                    <a:pt x="461" y="776"/>
                  </a:lnTo>
                  <a:lnTo>
                    <a:pt x="449" y="769"/>
                  </a:lnTo>
                  <a:lnTo>
                    <a:pt x="438" y="761"/>
                  </a:lnTo>
                  <a:lnTo>
                    <a:pt x="428" y="753"/>
                  </a:lnTo>
                  <a:lnTo>
                    <a:pt x="417" y="743"/>
                  </a:lnTo>
                  <a:lnTo>
                    <a:pt x="408" y="734"/>
                  </a:lnTo>
                  <a:lnTo>
                    <a:pt x="398" y="724"/>
                  </a:lnTo>
                  <a:lnTo>
                    <a:pt x="390" y="713"/>
                  </a:lnTo>
                  <a:lnTo>
                    <a:pt x="381" y="703"/>
                  </a:lnTo>
                  <a:lnTo>
                    <a:pt x="375" y="691"/>
                  </a:lnTo>
                  <a:lnTo>
                    <a:pt x="367" y="680"/>
                  </a:lnTo>
                  <a:lnTo>
                    <a:pt x="361" y="667"/>
                  </a:lnTo>
                  <a:lnTo>
                    <a:pt x="355" y="654"/>
                  </a:lnTo>
                  <a:lnTo>
                    <a:pt x="350" y="641"/>
                  </a:lnTo>
                  <a:lnTo>
                    <a:pt x="346" y="627"/>
                  </a:lnTo>
                  <a:lnTo>
                    <a:pt x="341" y="614"/>
                  </a:lnTo>
                  <a:lnTo>
                    <a:pt x="338" y="600"/>
                  </a:lnTo>
                  <a:lnTo>
                    <a:pt x="336" y="584"/>
                  </a:lnTo>
                  <a:lnTo>
                    <a:pt x="335" y="570"/>
                  </a:lnTo>
                  <a:lnTo>
                    <a:pt x="333" y="554"/>
                  </a:lnTo>
                  <a:lnTo>
                    <a:pt x="332" y="539"/>
                  </a:lnTo>
                  <a:lnTo>
                    <a:pt x="333" y="523"/>
                  </a:lnTo>
                  <a:lnTo>
                    <a:pt x="335" y="508"/>
                  </a:lnTo>
                  <a:lnTo>
                    <a:pt x="336" y="492"/>
                  </a:lnTo>
                  <a:lnTo>
                    <a:pt x="338" y="478"/>
                  </a:lnTo>
                  <a:lnTo>
                    <a:pt x="341" y="463"/>
                  </a:lnTo>
                  <a:lnTo>
                    <a:pt x="346" y="449"/>
                  </a:lnTo>
                  <a:lnTo>
                    <a:pt x="350" y="435"/>
                  </a:lnTo>
                  <a:lnTo>
                    <a:pt x="355" y="422"/>
                  </a:lnTo>
                  <a:lnTo>
                    <a:pt x="361" y="410"/>
                  </a:lnTo>
                  <a:lnTo>
                    <a:pt x="367" y="398"/>
                  </a:lnTo>
                  <a:lnTo>
                    <a:pt x="375" y="385"/>
                  </a:lnTo>
                  <a:lnTo>
                    <a:pt x="381" y="374"/>
                  </a:lnTo>
                  <a:lnTo>
                    <a:pt x="390" y="363"/>
                  </a:lnTo>
                  <a:lnTo>
                    <a:pt x="398" y="353"/>
                  </a:lnTo>
                  <a:lnTo>
                    <a:pt x="408" y="343"/>
                  </a:lnTo>
                  <a:lnTo>
                    <a:pt x="417" y="333"/>
                  </a:lnTo>
                  <a:lnTo>
                    <a:pt x="428" y="324"/>
                  </a:lnTo>
                  <a:lnTo>
                    <a:pt x="438" y="315"/>
                  </a:lnTo>
                  <a:lnTo>
                    <a:pt x="449" y="308"/>
                  </a:lnTo>
                  <a:lnTo>
                    <a:pt x="461" y="300"/>
                  </a:lnTo>
                  <a:lnTo>
                    <a:pt x="473" y="293"/>
                  </a:lnTo>
                  <a:lnTo>
                    <a:pt x="486" y="288"/>
                  </a:lnTo>
                  <a:lnTo>
                    <a:pt x="498" y="281"/>
                  </a:lnTo>
                  <a:lnTo>
                    <a:pt x="511" y="276"/>
                  </a:lnTo>
                  <a:lnTo>
                    <a:pt x="526" y="271"/>
                  </a:lnTo>
                  <a:lnTo>
                    <a:pt x="539" y="268"/>
                  </a:lnTo>
                  <a:lnTo>
                    <a:pt x="553" y="264"/>
                  </a:lnTo>
                  <a:lnTo>
                    <a:pt x="568" y="261"/>
                  </a:lnTo>
                  <a:lnTo>
                    <a:pt x="583" y="259"/>
                  </a:lnTo>
                  <a:lnTo>
                    <a:pt x="599" y="258"/>
                  </a:lnTo>
                  <a:lnTo>
                    <a:pt x="614" y="256"/>
                  </a:lnTo>
                  <a:lnTo>
                    <a:pt x="630" y="255"/>
                  </a:lnTo>
                  <a:lnTo>
                    <a:pt x="647" y="256"/>
                  </a:lnTo>
                  <a:lnTo>
                    <a:pt x="662" y="258"/>
                  </a:lnTo>
                  <a:lnTo>
                    <a:pt x="678" y="259"/>
                  </a:lnTo>
                  <a:lnTo>
                    <a:pt x="692" y="261"/>
                  </a:lnTo>
                  <a:lnTo>
                    <a:pt x="708" y="264"/>
                  </a:lnTo>
                  <a:lnTo>
                    <a:pt x="722" y="268"/>
                  </a:lnTo>
                  <a:lnTo>
                    <a:pt x="736" y="271"/>
                  </a:lnTo>
                  <a:lnTo>
                    <a:pt x="750" y="276"/>
                  </a:lnTo>
                  <a:lnTo>
                    <a:pt x="763" y="281"/>
                  </a:lnTo>
                  <a:lnTo>
                    <a:pt x="776" y="288"/>
                  </a:lnTo>
                  <a:lnTo>
                    <a:pt x="789" y="293"/>
                  </a:lnTo>
                  <a:lnTo>
                    <a:pt x="800" y="300"/>
                  </a:lnTo>
                  <a:lnTo>
                    <a:pt x="812" y="308"/>
                  </a:lnTo>
                  <a:lnTo>
                    <a:pt x="823" y="315"/>
                  </a:lnTo>
                  <a:lnTo>
                    <a:pt x="834" y="324"/>
                  </a:lnTo>
                  <a:lnTo>
                    <a:pt x="844" y="333"/>
                  </a:lnTo>
                  <a:lnTo>
                    <a:pt x="854" y="343"/>
                  </a:lnTo>
                  <a:lnTo>
                    <a:pt x="863" y="353"/>
                  </a:lnTo>
                  <a:lnTo>
                    <a:pt x="872" y="363"/>
                  </a:lnTo>
                  <a:lnTo>
                    <a:pt x="880" y="374"/>
                  </a:lnTo>
                  <a:lnTo>
                    <a:pt x="888" y="385"/>
                  </a:lnTo>
                  <a:lnTo>
                    <a:pt x="894" y="398"/>
                  </a:lnTo>
                  <a:lnTo>
                    <a:pt x="901" y="410"/>
                  </a:lnTo>
                  <a:lnTo>
                    <a:pt x="907" y="422"/>
                  </a:lnTo>
                  <a:lnTo>
                    <a:pt x="912" y="435"/>
                  </a:lnTo>
                  <a:lnTo>
                    <a:pt x="917" y="449"/>
                  </a:lnTo>
                  <a:lnTo>
                    <a:pt x="920" y="463"/>
                  </a:lnTo>
                  <a:lnTo>
                    <a:pt x="923" y="478"/>
                  </a:lnTo>
                  <a:lnTo>
                    <a:pt x="925" y="492"/>
                  </a:lnTo>
                  <a:lnTo>
                    <a:pt x="928" y="508"/>
                  </a:lnTo>
                  <a:lnTo>
                    <a:pt x="929" y="523"/>
                  </a:lnTo>
                  <a:lnTo>
                    <a:pt x="929" y="539"/>
                  </a:lnTo>
                  <a:close/>
                  <a:moveTo>
                    <a:pt x="506" y="539"/>
                  </a:moveTo>
                  <a:lnTo>
                    <a:pt x="507" y="552"/>
                  </a:lnTo>
                  <a:lnTo>
                    <a:pt x="509" y="565"/>
                  </a:lnTo>
                  <a:lnTo>
                    <a:pt x="511" y="577"/>
                  </a:lnTo>
                  <a:lnTo>
                    <a:pt x="513" y="584"/>
                  </a:lnTo>
                  <a:lnTo>
                    <a:pt x="516" y="590"/>
                  </a:lnTo>
                  <a:lnTo>
                    <a:pt x="521" y="601"/>
                  </a:lnTo>
                  <a:lnTo>
                    <a:pt x="527" y="611"/>
                  </a:lnTo>
                  <a:lnTo>
                    <a:pt x="534" y="621"/>
                  </a:lnTo>
                  <a:lnTo>
                    <a:pt x="542" y="629"/>
                  </a:lnTo>
                  <a:lnTo>
                    <a:pt x="547" y="633"/>
                  </a:lnTo>
                  <a:lnTo>
                    <a:pt x="551" y="636"/>
                  </a:lnTo>
                  <a:lnTo>
                    <a:pt x="556" y="640"/>
                  </a:lnTo>
                  <a:lnTo>
                    <a:pt x="561" y="643"/>
                  </a:lnTo>
                  <a:lnTo>
                    <a:pt x="571" y="649"/>
                  </a:lnTo>
                  <a:lnTo>
                    <a:pt x="582" y="654"/>
                  </a:lnTo>
                  <a:lnTo>
                    <a:pt x="593" y="657"/>
                  </a:lnTo>
                  <a:lnTo>
                    <a:pt x="606" y="661"/>
                  </a:lnTo>
                  <a:lnTo>
                    <a:pt x="611" y="661"/>
                  </a:lnTo>
                  <a:lnTo>
                    <a:pt x="618" y="662"/>
                  </a:lnTo>
                  <a:lnTo>
                    <a:pt x="630" y="663"/>
                  </a:lnTo>
                  <a:lnTo>
                    <a:pt x="643" y="662"/>
                  </a:lnTo>
                  <a:lnTo>
                    <a:pt x="656" y="661"/>
                  </a:lnTo>
                  <a:lnTo>
                    <a:pt x="668" y="657"/>
                  </a:lnTo>
                  <a:lnTo>
                    <a:pt x="673" y="656"/>
                  </a:lnTo>
                  <a:lnTo>
                    <a:pt x="679" y="654"/>
                  </a:lnTo>
                  <a:lnTo>
                    <a:pt x="690" y="649"/>
                  </a:lnTo>
                  <a:lnTo>
                    <a:pt x="696" y="646"/>
                  </a:lnTo>
                  <a:lnTo>
                    <a:pt x="700" y="643"/>
                  </a:lnTo>
                  <a:lnTo>
                    <a:pt x="706" y="640"/>
                  </a:lnTo>
                  <a:lnTo>
                    <a:pt x="710" y="636"/>
                  </a:lnTo>
                  <a:lnTo>
                    <a:pt x="719" y="629"/>
                  </a:lnTo>
                  <a:lnTo>
                    <a:pt x="727" y="621"/>
                  </a:lnTo>
                  <a:lnTo>
                    <a:pt x="733" y="611"/>
                  </a:lnTo>
                  <a:lnTo>
                    <a:pt x="740" y="601"/>
                  </a:lnTo>
                  <a:lnTo>
                    <a:pt x="742" y="595"/>
                  </a:lnTo>
                  <a:lnTo>
                    <a:pt x="744" y="590"/>
                  </a:lnTo>
                  <a:lnTo>
                    <a:pt x="749" y="577"/>
                  </a:lnTo>
                  <a:lnTo>
                    <a:pt x="752" y="565"/>
                  </a:lnTo>
                  <a:lnTo>
                    <a:pt x="753" y="552"/>
                  </a:lnTo>
                  <a:lnTo>
                    <a:pt x="754" y="539"/>
                  </a:lnTo>
                  <a:lnTo>
                    <a:pt x="753" y="524"/>
                  </a:lnTo>
                  <a:lnTo>
                    <a:pt x="753" y="517"/>
                  </a:lnTo>
                  <a:lnTo>
                    <a:pt x="752" y="511"/>
                  </a:lnTo>
                  <a:lnTo>
                    <a:pt x="749" y="499"/>
                  </a:lnTo>
                  <a:lnTo>
                    <a:pt x="747" y="493"/>
                  </a:lnTo>
                  <a:lnTo>
                    <a:pt x="744" y="488"/>
                  </a:lnTo>
                  <a:lnTo>
                    <a:pt x="740" y="476"/>
                  </a:lnTo>
                  <a:lnTo>
                    <a:pt x="733" y="465"/>
                  </a:lnTo>
                  <a:lnTo>
                    <a:pt x="727" y="456"/>
                  </a:lnTo>
                  <a:lnTo>
                    <a:pt x="719" y="448"/>
                  </a:lnTo>
                  <a:lnTo>
                    <a:pt x="714" y="444"/>
                  </a:lnTo>
                  <a:lnTo>
                    <a:pt x="710" y="440"/>
                  </a:lnTo>
                  <a:lnTo>
                    <a:pt x="706" y="436"/>
                  </a:lnTo>
                  <a:lnTo>
                    <a:pt x="700" y="433"/>
                  </a:lnTo>
                  <a:lnTo>
                    <a:pt x="690" y="428"/>
                  </a:lnTo>
                  <a:lnTo>
                    <a:pt x="679" y="423"/>
                  </a:lnTo>
                  <a:lnTo>
                    <a:pt x="668" y="420"/>
                  </a:lnTo>
                  <a:lnTo>
                    <a:pt x="656" y="416"/>
                  </a:lnTo>
                  <a:lnTo>
                    <a:pt x="643" y="415"/>
                  </a:lnTo>
                  <a:lnTo>
                    <a:pt x="630" y="414"/>
                  </a:lnTo>
                  <a:lnTo>
                    <a:pt x="618" y="415"/>
                  </a:lnTo>
                  <a:lnTo>
                    <a:pt x="606" y="416"/>
                  </a:lnTo>
                  <a:lnTo>
                    <a:pt x="593" y="420"/>
                  </a:lnTo>
                  <a:lnTo>
                    <a:pt x="588" y="421"/>
                  </a:lnTo>
                  <a:lnTo>
                    <a:pt x="582" y="423"/>
                  </a:lnTo>
                  <a:lnTo>
                    <a:pt x="571" y="428"/>
                  </a:lnTo>
                  <a:lnTo>
                    <a:pt x="566" y="431"/>
                  </a:lnTo>
                  <a:lnTo>
                    <a:pt x="561" y="433"/>
                  </a:lnTo>
                  <a:lnTo>
                    <a:pt x="556" y="436"/>
                  </a:lnTo>
                  <a:lnTo>
                    <a:pt x="551" y="440"/>
                  </a:lnTo>
                  <a:lnTo>
                    <a:pt x="542" y="448"/>
                  </a:lnTo>
                  <a:lnTo>
                    <a:pt x="534" y="456"/>
                  </a:lnTo>
                  <a:lnTo>
                    <a:pt x="527" y="465"/>
                  </a:lnTo>
                  <a:lnTo>
                    <a:pt x="521" y="476"/>
                  </a:lnTo>
                  <a:lnTo>
                    <a:pt x="516" y="488"/>
                  </a:lnTo>
                  <a:lnTo>
                    <a:pt x="511" y="499"/>
                  </a:lnTo>
                  <a:lnTo>
                    <a:pt x="509" y="511"/>
                  </a:lnTo>
                  <a:lnTo>
                    <a:pt x="507" y="524"/>
                  </a:lnTo>
                  <a:lnTo>
                    <a:pt x="507" y="531"/>
                  </a:lnTo>
                  <a:lnTo>
                    <a:pt x="506" y="539"/>
                  </a:lnTo>
                  <a:close/>
                  <a:moveTo>
                    <a:pt x="1145" y="175"/>
                  </a:moveTo>
                  <a:lnTo>
                    <a:pt x="959" y="175"/>
                  </a:lnTo>
                  <a:lnTo>
                    <a:pt x="959" y="1"/>
                  </a:lnTo>
                  <a:lnTo>
                    <a:pt x="1145" y="1"/>
                  </a:lnTo>
                  <a:lnTo>
                    <a:pt x="1145" y="175"/>
                  </a:lnTo>
                  <a:close/>
                  <a:moveTo>
                    <a:pt x="965" y="273"/>
                  </a:moveTo>
                  <a:lnTo>
                    <a:pt x="1139" y="273"/>
                  </a:lnTo>
                  <a:lnTo>
                    <a:pt x="1139" y="804"/>
                  </a:lnTo>
                  <a:lnTo>
                    <a:pt x="965" y="804"/>
                  </a:lnTo>
                  <a:lnTo>
                    <a:pt x="965" y="273"/>
                  </a:lnTo>
                  <a:close/>
                  <a:moveTo>
                    <a:pt x="1750" y="475"/>
                  </a:moveTo>
                  <a:lnTo>
                    <a:pt x="1750" y="804"/>
                  </a:lnTo>
                  <a:lnTo>
                    <a:pt x="1578" y="804"/>
                  </a:lnTo>
                  <a:lnTo>
                    <a:pt x="1578" y="523"/>
                  </a:lnTo>
                  <a:lnTo>
                    <a:pt x="1576" y="509"/>
                  </a:lnTo>
                  <a:lnTo>
                    <a:pt x="1575" y="495"/>
                  </a:lnTo>
                  <a:lnTo>
                    <a:pt x="1573" y="483"/>
                  </a:lnTo>
                  <a:lnTo>
                    <a:pt x="1571" y="472"/>
                  </a:lnTo>
                  <a:lnTo>
                    <a:pt x="1568" y="462"/>
                  </a:lnTo>
                  <a:lnTo>
                    <a:pt x="1563" y="452"/>
                  </a:lnTo>
                  <a:lnTo>
                    <a:pt x="1559" y="444"/>
                  </a:lnTo>
                  <a:lnTo>
                    <a:pt x="1555" y="440"/>
                  </a:lnTo>
                  <a:lnTo>
                    <a:pt x="1552" y="436"/>
                  </a:lnTo>
                  <a:lnTo>
                    <a:pt x="1546" y="430"/>
                  </a:lnTo>
                  <a:lnTo>
                    <a:pt x="1539" y="424"/>
                  </a:lnTo>
                  <a:lnTo>
                    <a:pt x="1531" y="420"/>
                  </a:lnTo>
                  <a:lnTo>
                    <a:pt x="1522" y="415"/>
                  </a:lnTo>
                  <a:lnTo>
                    <a:pt x="1512" y="412"/>
                  </a:lnTo>
                  <a:lnTo>
                    <a:pt x="1502" y="410"/>
                  </a:lnTo>
                  <a:lnTo>
                    <a:pt x="1491" y="409"/>
                  </a:lnTo>
                  <a:lnTo>
                    <a:pt x="1480" y="409"/>
                  </a:lnTo>
                  <a:lnTo>
                    <a:pt x="1469" y="409"/>
                  </a:lnTo>
                  <a:lnTo>
                    <a:pt x="1463" y="410"/>
                  </a:lnTo>
                  <a:lnTo>
                    <a:pt x="1459" y="410"/>
                  </a:lnTo>
                  <a:lnTo>
                    <a:pt x="1449" y="412"/>
                  </a:lnTo>
                  <a:lnTo>
                    <a:pt x="1439" y="415"/>
                  </a:lnTo>
                  <a:lnTo>
                    <a:pt x="1430" y="420"/>
                  </a:lnTo>
                  <a:lnTo>
                    <a:pt x="1425" y="422"/>
                  </a:lnTo>
                  <a:lnTo>
                    <a:pt x="1421" y="424"/>
                  </a:lnTo>
                  <a:lnTo>
                    <a:pt x="1413" y="431"/>
                  </a:lnTo>
                  <a:lnTo>
                    <a:pt x="1410" y="434"/>
                  </a:lnTo>
                  <a:lnTo>
                    <a:pt x="1406" y="438"/>
                  </a:lnTo>
                  <a:lnTo>
                    <a:pt x="1403" y="442"/>
                  </a:lnTo>
                  <a:lnTo>
                    <a:pt x="1400" y="445"/>
                  </a:lnTo>
                  <a:lnTo>
                    <a:pt x="1394" y="455"/>
                  </a:lnTo>
                  <a:lnTo>
                    <a:pt x="1389" y="465"/>
                  </a:lnTo>
                  <a:lnTo>
                    <a:pt x="1386" y="471"/>
                  </a:lnTo>
                  <a:lnTo>
                    <a:pt x="1385" y="478"/>
                  </a:lnTo>
                  <a:lnTo>
                    <a:pt x="1383" y="484"/>
                  </a:lnTo>
                  <a:lnTo>
                    <a:pt x="1382" y="491"/>
                  </a:lnTo>
                  <a:lnTo>
                    <a:pt x="1379" y="504"/>
                  </a:lnTo>
                  <a:lnTo>
                    <a:pt x="1378" y="520"/>
                  </a:lnTo>
                  <a:lnTo>
                    <a:pt x="1378" y="537"/>
                  </a:lnTo>
                  <a:lnTo>
                    <a:pt x="1378" y="804"/>
                  </a:lnTo>
                  <a:lnTo>
                    <a:pt x="1203" y="804"/>
                  </a:lnTo>
                  <a:lnTo>
                    <a:pt x="1203" y="273"/>
                  </a:lnTo>
                  <a:lnTo>
                    <a:pt x="1374" y="273"/>
                  </a:lnTo>
                  <a:lnTo>
                    <a:pt x="1374" y="353"/>
                  </a:lnTo>
                  <a:lnTo>
                    <a:pt x="1376" y="353"/>
                  </a:lnTo>
                  <a:lnTo>
                    <a:pt x="1383" y="342"/>
                  </a:lnTo>
                  <a:lnTo>
                    <a:pt x="1391" y="331"/>
                  </a:lnTo>
                  <a:lnTo>
                    <a:pt x="1400" y="321"/>
                  </a:lnTo>
                  <a:lnTo>
                    <a:pt x="1409" y="312"/>
                  </a:lnTo>
                  <a:lnTo>
                    <a:pt x="1418" y="303"/>
                  </a:lnTo>
                  <a:lnTo>
                    <a:pt x="1422" y="299"/>
                  </a:lnTo>
                  <a:lnTo>
                    <a:pt x="1428" y="295"/>
                  </a:lnTo>
                  <a:lnTo>
                    <a:pt x="1438" y="288"/>
                  </a:lnTo>
                  <a:lnTo>
                    <a:pt x="1449" y="281"/>
                  </a:lnTo>
                  <a:lnTo>
                    <a:pt x="1460" y="275"/>
                  </a:lnTo>
                  <a:lnTo>
                    <a:pt x="1472" y="270"/>
                  </a:lnTo>
                  <a:lnTo>
                    <a:pt x="1483" y="265"/>
                  </a:lnTo>
                  <a:lnTo>
                    <a:pt x="1496" y="262"/>
                  </a:lnTo>
                  <a:lnTo>
                    <a:pt x="1509" y="260"/>
                  </a:lnTo>
                  <a:lnTo>
                    <a:pt x="1522" y="258"/>
                  </a:lnTo>
                  <a:lnTo>
                    <a:pt x="1535" y="256"/>
                  </a:lnTo>
                  <a:lnTo>
                    <a:pt x="1550" y="255"/>
                  </a:lnTo>
                  <a:lnTo>
                    <a:pt x="1571" y="256"/>
                  </a:lnTo>
                  <a:lnTo>
                    <a:pt x="1582" y="258"/>
                  </a:lnTo>
                  <a:lnTo>
                    <a:pt x="1592" y="259"/>
                  </a:lnTo>
                  <a:lnTo>
                    <a:pt x="1602" y="261"/>
                  </a:lnTo>
                  <a:lnTo>
                    <a:pt x="1612" y="263"/>
                  </a:lnTo>
                  <a:lnTo>
                    <a:pt x="1621" y="265"/>
                  </a:lnTo>
                  <a:lnTo>
                    <a:pt x="1630" y="269"/>
                  </a:lnTo>
                  <a:lnTo>
                    <a:pt x="1640" y="272"/>
                  </a:lnTo>
                  <a:lnTo>
                    <a:pt x="1647" y="276"/>
                  </a:lnTo>
                  <a:lnTo>
                    <a:pt x="1656" y="281"/>
                  </a:lnTo>
                  <a:lnTo>
                    <a:pt x="1664" y="285"/>
                  </a:lnTo>
                  <a:lnTo>
                    <a:pt x="1672" y="291"/>
                  </a:lnTo>
                  <a:lnTo>
                    <a:pt x="1680" y="296"/>
                  </a:lnTo>
                  <a:lnTo>
                    <a:pt x="1686" y="302"/>
                  </a:lnTo>
                  <a:lnTo>
                    <a:pt x="1693" y="309"/>
                  </a:lnTo>
                  <a:lnTo>
                    <a:pt x="1700" y="315"/>
                  </a:lnTo>
                  <a:lnTo>
                    <a:pt x="1706" y="323"/>
                  </a:lnTo>
                  <a:lnTo>
                    <a:pt x="1712" y="331"/>
                  </a:lnTo>
                  <a:lnTo>
                    <a:pt x="1717" y="339"/>
                  </a:lnTo>
                  <a:lnTo>
                    <a:pt x="1722" y="348"/>
                  </a:lnTo>
                  <a:lnTo>
                    <a:pt x="1726" y="358"/>
                  </a:lnTo>
                  <a:lnTo>
                    <a:pt x="1731" y="366"/>
                  </a:lnTo>
                  <a:lnTo>
                    <a:pt x="1735" y="376"/>
                  </a:lnTo>
                  <a:lnTo>
                    <a:pt x="1739" y="388"/>
                  </a:lnTo>
                  <a:lnTo>
                    <a:pt x="1741" y="399"/>
                  </a:lnTo>
                  <a:lnTo>
                    <a:pt x="1744" y="410"/>
                  </a:lnTo>
                  <a:lnTo>
                    <a:pt x="1745" y="422"/>
                  </a:lnTo>
                  <a:lnTo>
                    <a:pt x="1747" y="434"/>
                  </a:lnTo>
                  <a:lnTo>
                    <a:pt x="1749" y="448"/>
                  </a:lnTo>
                  <a:lnTo>
                    <a:pt x="1750" y="461"/>
                  </a:lnTo>
                  <a:lnTo>
                    <a:pt x="1750" y="475"/>
                  </a:lnTo>
                  <a:close/>
                  <a:moveTo>
                    <a:pt x="2235" y="418"/>
                  </a:moveTo>
                  <a:lnTo>
                    <a:pt x="2235" y="577"/>
                  </a:lnTo>
                  <a:lnTo>
                    <a:pt x="2236" y="594"/>
                  </a:lnTo>
                  <a:lnTo>
                    <a:pt x="2238" y="609"/>
                  </a:lnTo>
                  <a:lnTo>
                    <a:pt x="2240" y="614"/>
                  </a:lnTo>
                  <a:lnTo>
                    <a:pt x="2242" y="620"/>
                  </a:lnTo>
                  <a:lnTo>
                    <a:pt x="2244" y="624"/>
                  </a:lnTo>
                  <a:lnTo>
                    <a:pt x="2247" y="629"/>
                  </a:lnTo>
                  <a:lnTo>
                    <a:pt x="2251" y="632"/>
                  </a:lnTo>
                  <a:lnTo>
                    <a:pt x="2255" y="635"/>
                  </a:lnTo>
                  <a:lnTo>
                    <a:pt x="2260" y="637"/>
                  </a:lnTo>
                  <a:lnTo>
                    <a:pt x="2265" y="640"/>
                  </a:lnTo>
                  <a:lnTo>
                    <a:pt x="2271" y="641"/>
                  </a:lnTo>
                  <a:lnTo>
                    <a:pt x="2277" y="642"/>
                  </a:lnTo>
                  <a:lnTo>
                    <a:pt x="2285" y="643"/>
                  </a:lnTo>
                  <a:lnTo>
                    <a:pt x="2293" y="643"/>
                  </a:lnTo>
                  <a:lnTo>
                    <a:pt x="2313" y="643"/>
                  </a:lnTo>
                  <a:lnTo>
                    <a:pt x="2313" y="804"/>
                  </a:lnTo>
                  <a:lnTo>
                    <a:pt x="2240" y="804"/>
                  </a:lnTo>
                  <a:lnTo>
                    <a:pt x="2221" y="803"/>
                  </a:lnTo>
                  <a:lnTo>
                    <a:pt x="2211" y="803"/>
                  </a:lnTo>
                  <a:lnTo>
                    <a:pt x="2202" y="802"/>
                  </a:lnTo>
                  <a:lnTo>
                    <a:pt x="2184" y="799"/>
                  </a:lnTo>
                  <a:lnTo>
                    <a:pt x="2166" y="794"/>
                  </a:lnTo>
                  <a:lnTo>
                    <a:pt x="2158" y="791"/>
                  </a:lnTo>
                  <a:lnTo>
                    <a:pt x="2151" y="787"/>
                  </a:lnTo>
                  <a:lnTo>
                    <a:pt x="2143" y="784"/>
                  </a:lnTo>
                  <a:lnTo>
                    <a:pt x="2136" y="781"/>
                  </a:lnTo>
                  <a:lnTo>
                    <a:pt x="2130" y="776"/>
                  </a:lnTo>
                  <a:lnTo>
                    <a:pt x="2123" y="772"/>
                  </a:lnTo>
                  <a:lnTo>
                    <a:pt x="2116" y="767"/>
                  </a:lnTo>
                  <a:lnTo>
                    <a:pt x="2111" y="762"/>
                  </a:lnTo>
                  <a:lnTo>
                    <a:pt x="2105" y="756"/>
                  </a:lnTo>
                  <a:lnTo>
                    <a:pt x="2100" y="751"/>
                  </a:lnTo>
                  <a:lnTo>
                    <a:pt x="2090" y="737"/>
                  </a:lnTo>
                  <a:lnTo>
                    <a:pt x="2085" y="730"/>
                  </a:lnTo>
                  <a:lnTo>
                    <a:pt x="2082" y="723"/>
                  </a:lnTo>
                  <a:lnTo>
                    <a:pt x="2075" y="706"/>
                  </a:lnTo>
                  <a:lnTo>
                    <a:pt x="2070" y="689"/>
                  </a:lnTo>
                  <a:lnTo>
                    <a:pt x="2067" y="679"/>
                  </a:lnTo>
                  <a:lnTo>
                    <a:pt x="2065" y="669"/>
                  </a:lnTo>
                  <a:lnTo>
                    <a:pt x="2064" y="659"/>
                  </a:lnTo>
                  <a:lnTo>
                    <a:pt x="2063" y="647"/>
                  </a:lnTo>
                  <a:lnTo>
                    <a:pt x="2062" y="636"/>
                  </a:lnTo>
                  <a:lnTo>
                    <a:pt x="2062" y="624"/>
                  </a:lnTo>
                  <a:lnTo>
                    <a:pt x="2062" y="418"/>
                  </a:lnTo>
                  <a:lnTo>
                    <a:pt x="1959" y="418"/>
                  </a:lnTo>
                  <a:lnTo>
                    <a:pt x="1959" y="273"/>
                  </a:lnTo>
                  <a:lnTo>
                    <a:pt x="2062" y="273"/>
                  </a:lnTo>
                  <a:lnTo>
                    <a:pt x="2062" y="60"/>
                  </a:lnTo>
                  <a:lnTo>
                    <a:pt x="2235" y="60"/>
                  </a:lnTo>
                  <a:lnTo>
                    <a:pt x="2235" y="273"/>
                  </a:lnTo>
                  <a:lnTo>
                    <a:pt x="2345" y="273"/>
                  </a:lnTo>
                  <a:lnTo>
                    <a:pt x="2345" y="418"/>
                  </a:lnTo>
                  <a:lnTo>
                    <a:pt x="2235" y="418"/>
                  </a:lnTo>
                  <a:close/>
                  <a:moveTo>
                    <a:pt x="2556" y="343"/>
                  </a:moveTo>
                  <a:lnTo>
                    <a:pt x="2558" y="343"/>
                  </a:lnTo>
                  <a:lnTo>
                    <a:pt x="2565" y="333"/>
                  </a:lnTo>
                  <a:lnTo>
                    <a:pt x="2573" y="323"/>
                  </a:lnTo>
                  <a:lnTo>
                    <a:pt x="2581" y="314"/>
                  </a:lnTo>
                  <a:lnTo>
                    <a:pt x="2585" y="310"/>
                  </a:lnTo>
                  <a:lnTo>
                    <a:pt x="2589" y="305"/>
                  </a:lnTo>
                  <a:lnTo>
                    <a:pt x="2598" y="298"/>
                  </a:lnTo>
                  <a:lnTo>
                    <a:pt x="2608" y="291"/>
                  </a:lnTo>
                  <a:lnTo>
                    <a:pt x="2618" y="284"/>
                  </a:lnTo>
                  <a:lnTo>
                    <a:pt x="2628" y="279"/>
                  </a:lnTo>
                  <a:lnTo>
                    <a:pt x="2639" y="273"/>
                  </a:lnTo>
                  <a:lnTo>
                    <a:pt x="2651" y="269"/>
                  </a:lnTo>
                  <a:lnTo>
                    <a:pt x="2663" y="264"/>
                  </a:lnTo>
                  <a:lnTo>
                    <a:pt x="2675" y="261"/>
                  </a:lnTo>
                  <a:lnTo>
                    <a:pt x="2687" y="259"/>
                  </a:lnTo>
                  <a:lnTo>
                    <a:pt x="2694" y="258"/>
                  </a:lnTo>
                  <a:lnTo>
                    <a:pt x="2701" y="258"/>
                  </a:lnTo>
                  <a:lnTo>
                    <a:pt x="2714" y="256"/>
                  </a:lnTo>
                  <a:lnTo>
                    <a:pt x="2728" y="255"/>
                  </a:lnTo>
                  <a:lnTo>
                    <a:pt x="2749" y="256"/>
                  </a:lnTo>
                  <a:lnTo>
                    <a:pt x="2760" y="258"/>
                  </a:lnTo>
                  <a:lnTo>
                    <a:pt x="2770" y="259"/>
                  </a:lnTo>
                  <a:lnTo>
                    <a:pt x="2780" y="261"/>
                  </a:lnTo>
                  <a:lnTo>
                    <a:pt x="2790" y="263"/>
                  </a:lnTo>
                  <a:lnTo>
                    <a:pt x="2799" y="265"/>
                  </a:lnTo>
                  <a:lnTo>
                    <a:pt x="2809" y="269"/>
                  </a:lnTo>
                  <a:lnTo>
                    <a:pt x="2818" y="272"/>
                  </a:lnTo>
                  <a:lnTo>
                    <a:pt x="2826" y="276"/>
                  </a:lnTo>
                  <a:lnTo>
                    <a:pt x="2835" y="281"/>
                  </a:lnTo>
                  <a:lnTo>
                    <a:pt x="2843" y="285"/>
                  </a:lnTo>
                  <a:lnTo>
                    <a:pt x="2850" y="291"/>
                  </a:lnTo>
                  <a:lnTo>
                    <a:pt x="2858" y="296"/>
                  </a:lnTo>
                  <a:lnTo>
                    <a:pt x="2865" y="302"/>
                  </a:lnTo>
                  <a:lnTo>
                    <a:pt x="2872" y="309"/>
                  </a:lnTo>
                  <a:lnTo>
                    <a:pt x="2878" y="315"/>
                  </a:lnTo>
                  <a:lnTo>
                    <a:pt x="2885" y="323"/>
                  </a:lnTo>
                  <a:lnTo>
                    <a:pt x="2890" y="331"/>
                  </a:lnTo>
                  <a:lnTo>
                    <a:pt x="2896" y="339"/>
                  </a:lnTo>
                  <a:lnTo>
                    <a:pt x="2900" y="348"/>
                  </a:lnTo>
                  <a:lnTo>
                    <a:pt x="2905" y="358"/>
                  </a:lnTo>
                  <a:lnTo>
                    <a:pt x="2909" y="366"/>
                  </a:lnTo>
                  <a:lnTo>
                    <a:pt x="2914" y="376"/>
                  </a:lnTo>
                  <a:lnTo>
                    <a:pt x="2917" y="388"/>
                  </a:lnTo>
                  <a:lnTo>
                    <a:pt x="2919" y="399"/>
                  </a:lnTo>
                  <a:lnTo>
                    <a:pt x="2923" y="410"/>
                  </a:lnTo>
                  <a:lnTo>
                    <a:pt x="2925" y="422"/>
                  </a:lnTo>
                  <a:lnTo>
                    <a:pt x="2926" y="434"/>
                  </a:lnTo>
                  <a:lnTo>
                    <a:pt x="2927" y="448"/>
                  </a:lnTo>
                  <a:lnTo>
                    <a:pt x="2928" y="461"/>
                  </a:lnTo>
                  <a:lnTo>
                    <a:pt x="2928" y="475"/>
                  </a:lnTo>
                  <a:lnTo>
                    <a:pt x="2928" y="804"/>
                  </a:lnTo>
                  <a:lnTo>
                    <a:pt x="2755" y="804"/>
                  </a:lnTo>
                  <a:lnTo>
                    <a:pt x="2755" y="523"/>
                  </a:lnTo>
                  <a:lnTo>
                    <a:pt x="2754" y="509"/>
                  </a:lnTo>
                  <a:lnTo>
                    <a:pt x="2753" y="495"/>
                  </a:lnTo>
                  <a:lnTo>
                    <a:pt x="2752" y="483"/>
                  </a:lnTo>
                  <a:lnTo>
                    <a:pt x="2748" y="472"/>
                  </a:lnTo>
                  <a:lnTo>
                    <a:pt x="2745" y="462"/>
                  </a:lnTo>
                  <a:lnTo>
                    <a:pt x="2741" y="452"/>
                  </a:lnTo>
                  <a:lnTo>
                    <a:pt x="2738" y="448"/>
                  </a:lnTo>
                  <a:lnTo>
                    <a:pt x="2736" y="444"/>
                  </a:lnTo>
                  <a:lnTo>
                    <a:pt x="2733" y="440"/>
                  </a:lnTo>
                  <a:lnTo>
                    <a:pt x="2731" y="436"/>
                  </a:lnTo>
                  <a:lnTo>
                    <a:pt x="2724" y="430"/>
                  </a:lnTo>
                  <a:lnTo>
                    <a:pt x="2716" y="424"/>
                  </a:lnTo>
                  <a:lnTo>
                    <a:pt x="2708" y="420"/>
                  </a:lnTo>
                  <a:lnTo>
                    <a:pt x="2699" y="415"/>
                  </a:lnTo>
                  <a:lnTo>
                    <a:pt x="2691" y="412"/>
                  </a:lnTo>
                  <a:lnTo>
                    <a:pt x="2681" y="410"/>
                  </a:lnTo>
                  <a:lnTo>
                    <a:pt x="2669" y="409"/>
                  </a:lnTo>
                  <a:lnTo>
                    <a:pt x="2658" y="409"/>
                  </a:lnTo>
                  <a:lnTo>
                    <a:pt x="2647" y="409"/>
                  </a:lnTo>
                  <a:lnTo>
                    <a:pt x="2642" y="410"/>
                  </a:lnTo>
                  <a:lnTo>
                    <a:pt x="2637" y="410"/>
                  </a:lnTo>
                  <a:lnTo>
                    <a:pt x="2627" y="412"/>
                  </a:lnTo>
                  <a:lnTo>
                    <a:pt x="2617" y="415"/>
                  </a:lnTo>
                  <a:lnTo>
                    <a:pt x="2608" y="420"/>
                  </a:lnTo>
                  <a:lnTo>
                    <a:pt x="2604" y="422"/>
                  </a:lnTo>
                  <a:lnTo>
                    <a:pt x="2599" y="424"/>
                  </a:lnTo>
                  <a:lnTo>
                    <a:pt x="2592" y="431"/>
                  </a:lnTo>
                  <a:lnTo>
                    <a:pt x="2588" y="434"/>
                  </a:lnTo>
                  <a:lnTo>
                    <a:pt x="2585" y="438"/>
                  </a:lnTo>
                  <a:lnTo>
                    <a:pt x="2582" y="442"/>
                  </a:lnTo>
                  <a:lnTo>
                    <a:pt x="2578" y="445"/>
                  </a:lnTo>
                  <a:lnTo>
                    <a:pt x="2573" y="455"/>
                  </a:lnTo>
                  <a:lnTo>
                    <a:pt x="2567" y="465"/>
                  </a:lnTo>
                  <a:lnTo>
                    <a:pt x="2566" y="471"/>
                  </a:lnTo>
                  <a:lnTo>
                    <a:pt x="2564" y="478"/>
                  </a:lnTo>
                  <a:lnTo>
                    <a:pt x="2562" y="484"/>
                  </a:lnTo>
                  <a:lnTo>
                    <a:pt x="2561" y="491"/>
                  </a:lnTo>
                  <a:lnTo>
                    <a:pt x="2558" y="504"/>
                  </a:lnTo>
                  <a:lnTo>
                    <a:pt x="2556" y="520"/>
                  </a:lnTo>
                  <a:lnTo>
                    <a:pt x="2556" y="537"/>
                  </a:lnTo>
                  <a:lnTo>
                    <a:pt x="2556" y="804"/>
                  </a:lnTo>
                  <a:lnTo>
                    <a:pt x="2383" y="804"/>
                  </a:lnTo>
                  <a:lnTo>
                    <a:pt x="2383" y="0"/>
                  </a:lnTo>
                  <a:lnTo>
                    <a:pt x="2556" y="0"/>
                  </a:lnTo>
                  <a:lnTo>
                    <a:pt x="2556" y="343"/>
                  </a:lnTo>
                  <a:close/>
                  <a:moveTo>
                    <a:pt x="3506" y="541"/>
                  </a:moveTo>
                  <a:lnTo>
                    <a:pt x="3506" y="580"/>
                  </a:lnTo>
                  <a:lnTo>
                    <a:pt x="3125" y="580"/>
                  </a:lnTo>
                  <a:lnTo>
                    <a:pt x="3128" y="592"/>
                  </a:lnTo>
                  <a:lnTo>
                    <a:pt x="3131" y="603"/>
                  </a:lnTo>
                  <a:lnTo>
                    <a:pt x="3136" y="613"/>
                  </a:lnTo>
                  <a:lnTo>
                    <a:pt x="3141" y="623"/>
                  </a:lnTo>
                  <a:lnTo>
                    <a:pt x="3147" y="632"/>
                  </a:lnTo>
                  <a:lnTo>
                    <a:pt x="3155" y="640"/>
                  </a:lnTo>
                  <a:lnTo>
                    <a:pt x="3163" y="646"/>
                  </a:lnTo>
                  <a:lnTo>
                    <a:pt x="3170" y="653"/>
                  </a:lnTo>
                  <a:lnTo>
                    <a:pt x="3180" y="659"/>
                  </a:lnTo>
                  <a:lnTo>
                    <a:pt x="3189" y="663"/>
                  </a:lnTo>
                  <a:lnTo>
                    <a:pt x="3200" y="667"/>
                  </a:lnTo>
                  <a:lnTo>
                    <a:pt x="3211" y="671"/>
                  </a:lnTo>
                  <a:lnTo>
                    <a:pt x="3223" y="673"/>
                  </a:lnTo>
                  <a:lnTo>
                    <a:pt x="3229" y="674"/>
                  </a:lnTo>
                  <a:lnTo>
                    <a:pt x="3235" y="675"/>
                  </a:lnTo>
                  <a:lnTo>
                    <a:pt x="3248" y="676"/>
                  </a:lnTo>
                  <a:lnTo>
                    <a:pt x="3260" y="676"/>
                  </a:lnTo>
                  <a:lnTo>
                    <a:pt x="3273" y="676"/>
                  </a:lnTo>
                  <a:lnTo>
                    <a:pt x="3285" y="675"/>
                  </a:lnTo>
                  <a:lnTo>
                    <a:pt x="3296" y="674"/>
                  </a:lnTo>
                  <a:lnTo>
                    <a:pt x="3307" y="672"/>
                  </a:lnTo>
                  <a:lnTo>
                    <a:pt x="3318" y="670"/>
                  </a:lnTo>
                  <a:lnTo>
                    <a:pt x="3329" y="666"/>
                  </a:lnTo>
                  <a:lnTo>
                    <a:pt x="3349" y="661"/>
                  </a:lnTo>
                  <a:lnTo>
                    <a:pt x="3359" y="656"/>
                  </a:lnTo>
                  <a:lnTo>
                    <a:pt x="3368" y="653"/>
                  </a:lnTo>
                  <a:lnTo>
                    <a:pt x="3377" y="649"/>
                  </a:lnTo>
                  <a:lnTo>
                    <a:pt x="3386" y="645"/>
                  </a:lnTo>
                  <a:lnTo>
                    <a:pt x="3401" y="636"/>
                  </a:lnTo>
                  <a:lnTo>
                    <a:pt x="3415" y="627"/>
                  </a:lnTo>
                  <a:lnTo>
                    <a:pt x="3478" y="759"/>
                  </a:lnTo>
                  <a:lnTo>
                    <a:pt x="3467" y="765"/>
                  </a:lnTo>
                  <a:lnTo>
                    <a:pt x="3456" y="772"/>
                  </a:lnTo>
                  <a:lnTo>
                    <a:pt x="3445" y="777"/>
                  </a:lnTo>
                  <a:lnTo>
                    <a:pt x="3433" y="783"/>
                  </a:lnTo>
                  <a:lnTo>
                    <a:pt x="3408" y="794"/>
                  </a:lnTo>
                  <a:lnTo>
                    <a:pt x="3395" y="799"/>
                  </a:lnTo>
                  <a:lnTo>
                    <a:pt x="3381" y="803"/>
                  </a:lnTo>
                  <a:lnTo>
                    <a:pt x="3367" y="807"/>
                  </a:lnTo>
                  <a:lnTo>
                    <a:pt x="3353" y="811"/>
                  </a:lnTo>
                  <a:lnTo>
                    <a:pt x="3338" y="814"/>
                  </a:lnTo>
                  <a:lnTo>
                    <a:pt x="3324" y="816"/>
                  </a:lnTo>
                  <a:lnTo>
                    <a:pt x="3308" y="819"/>
                  </a:lnTo>
                  <a:lnTo>
                    <a:pt x="3291" y="820"/>
                  </a:lnTo>
                  <a:lnTo>
                    <a:pt x="3276" y="821"/>
                  </a:lnTo>
                  <a:lnTo>
                    <a:pt x="3258" y="821"/>
                  </a:lnTo>
                  <a:lnTo>
                    <a:pt x="3243" y="821"/>
                  </a:lnTo>
                  <a:lnTo>
                    <a:pt x="3226" y="820"/>
                  </a:lnTo>
                  <a:lnTo>
                    <a:pt x="3210" y="819"/>
                  </a:lnTo>
                  <a:lnTo>
                    <a:pt x="3195" y="816"/>
                  </a:lnTo>
                  <a:lnTo>
                    <a:pt x="3179" y="813"/>
                  </a:lnTo>
                  <a:lnTo>
                    <a:pt x="3165" y="810"/>
                  </a:lnTo>
                  <a:lnTo>
                    <a:pt x="3150" y="805"/>
                  </a:lnTo>
                  <a:lnTo>
                    <a:pt x="3137" y="801"/>
                  </a:lnTo>
                  <a:lnTo>
                    <a:pt x="3124" y="796"/>
                  </a:lnTo>
                  <a:lnTo>
                    <a:pt x="3110" y="790"/>
                  </a:lnTo>
                  <a:lnTo>
                    <a:pt x="3098" y="784"/>
                  </a:lnTo>
                  <a:lnTo>
                    <a:pt x="3087" y="777"/>
                  </a:lnTo>
                  <a:lnTo>
                    <a:pt x="3080" y="773"/>
                  </a:lnTo>
                  <a:lnTo>
                    <a:pt x="3075" y="770"/>
                  </a:lnTo>
                  <a:lnTo>
                    <a:pt x="3064" y="762"/>
                  </a:lnTo>
                  <a:lnTo>
                    <a:pt x="3054" y="753"/>
                  </a:lnTo>
                  <a:lnTo>
                    <a:pt x="3044" y="744"/>
                  </a:lnTo>
                  <a:lnTo>
                    <a:pt x="3034" y="735"/>
                  </a:lnTo>
                  <a:lnTo>
                    <a:pt x="3025" y="725"/>
                  </a:lnTo>
                  <a:lnTo>
                    <a:pt x="3017" y="714"/>
                  </a:lnTo>
                  <a:lnTo>
                    <a:pt x="3009" y="704"/>
                  </a:lnTo>
                  <a:lnTo>
                    <a:pt x="3002" y="692"/>
                  </a:lnTo>
                  <a:lnTo>
                    <a:pt x="2995" y="681"/>
                  </a:lnTo>
                  <a:lnTo>
                    <a:pt x="2989" y="669"/>
                  </a:lnTo>
                  <a:lnTo>
                    <a:pt x="2984" y="655"/>
                  </a:lnTo>
                  <a:lnTo>
                    <a:pt x="2978" y="643"/>
                  </a:lnTo>
                  <a:lnTo>
                    <a:pt x="2974" y="630"/>
                  </a:lnTo>
                  <a:lnTo>
                    <a:pt x="2970" y="615"/>
                  </a:lnTo>
                  <a:lnTo>
                    <a:pt x="2967" y="601"/>
                  </a:lnTo>
                  <a:lnTo>
                    <a:pt x="2965" y="586"/>
                  </a:lnTo>
                  <a:lnTo>
                    <a:pt x="2964" y="572"/>
                  </a:lnTo>
                  <a:lnTo>
                    <a:pt x="2963" y="556"/>
                  </a:lnTo>
                  <a:lnTo>
                    <a:pt x="2963" y="541"/>
                  </a:lnTo>
                  <a:lnTo>
                    <a:pt x="2963" y="524"/>
                  </a:lnTo>
                  <a:lnTo>
                    <a:pt x="2964" y="508"/>
                  </a:lnTo>
                  <a:lnTo>
                    <a:pt x="2965" y="492"/>
                  </a:lnTo>
                  <a:lnTo>
                    <a:pt x="2967" y="478"/>
                  </a:lnTo>
                  <a:lnTo>
                    <a:pt x="2970" y="462"/>
                  </a:lnTo>
                  <a:lnTo>
                    <a:pt x="2974" y="448"/>
                  </a:lnTo>
                  <a:lnTo>
                    <a:pt x="2978" y="434"/>
                  </a:lnTo>
                  <a:lnTo>
                    <a:pt x="2983" y="421"/>
                  </a:lnTo>
                  <a:lnTo>
                    <a:pt x="2988" y="408"/>
                  </a:lnTo>
                  <a:lnTo>
                    <a:pt x="2994" y="395"/>
                  </a:lnTo>
                  <a:lnTo>
                    <a:pt x="3000" y="383"/>
                  </a:lnTo>
                  <a:lnTo>
                    <a:pt x="3008" y="372"/>
                  </a:lnTo>
                  <a:lnTo>
                    <a:pt x="3015" y="361"/>
                  </a:lnTo>
                  <a:lnTo>
                    <a:pt x="3024" y="351"/>
                  </a:lnTo>
                  <a:lnTo>
                    <a:pt x="3032" y="341"/>
                  </a:lnTo>
                  <a:lnTo>
                    <a:pt x="3042" y="332"/>
                  </a:lnTo>
                  <a:lnTo>
                    <a:pt x="3050" y="323"/>
                  </a:lnTo>
                  <a:lnTo>
                    <a:pt x="3060" y="314"/>
                  </a:lnTo>
                  <a:lnTo>
                    <a:pt x="3072" y="306"/>
                  </a:lnTo>
                  <a:lnTo>
                    <a:pt x="3083" y="300"/>
                  </a:lnTo>
                  <a:lnTo>
                    <a:pt x="3094" y="293"/>
                  </a:lnTo>
                  <a:lnTo>
                    <a:pt x="3105" y="286"/>
                  </a:lnTo>
                  <a:lnTo>
                    <a:pt x="3117" y="281"/>
                  </a:lnTo>
                  <a:lnTo>
                    <a:pt x="3130" y="276"/>
                  </a:lnTo>
                  <a:lnTo>
                    <a:pt x="3143" y="272"/>
                  </a:lnTo>
                  <a:lnTo>
                    <a:pt x="3156" y="268"/>
                  </a:lnTo>
                  <a:lnTo>
                    <a:pt x="3169" y="264"/>
                  </a:lnTo>
                  <a:lnTo>
                    <a:pt x="3184" y="262"/>
                  </a:lnTo>
                  <a:lnTo>
                    <a:pt x="3198" y="260"/>
                  </a:lnTo>
                  <a:lnTo>
                    <a:pt x="3213" y="258"/>
                  </a:lnTo>
                  <a:lnTo>
                    <a:pt x="3227" y="258"/>
                  </a:lnTo>
                  <a:lnTo>
                    <a:pt x="3243" y="256"/>
                  </a:lnTo>
                  <a:lnTo>
                    <a:pt x="3257" y="258"/>
                  </a:lnTo>
                  <a:lnTo>
                    <a:pt x="3271" y="258"/>
                  </a:lnTo>
                  <a:lnTo>
                    <a:pt x="3286" y="260"/>
                  </a:lnTo>
                  <a:lnTo>
                    <a:pt x="3299" y="261"/>
                  </a:lnTo>
                  <a:lnTo>
                    <a:pt x="3313" y="263"/>
                  </a:lnTo>
                  <a:lnTo>
                    <a:pt x="3326" y="266"/>
                  </a:lnTo>
                  <a:lnTo>
                    <a:pt x="3339" y="270"/>
                  </a:lnTo>
                  <a:lnTo>
                    <a:pt x="3345" y="272"/>
                  </a:lnTo>
                  <a:lnTo>
                    <a:pt x="3351" y="274"/>
                  </a:lnTo>
                  <a:lnTo>
                    <a:pt x="3363" y="279"/>
                  </a:lnTo>
                  <a:lnTo>
                    <a:pt x="3375" y="284"/>
                  </a:lnTo>
                  <a:lnTo>
                    <a:pt x="3386" y="290"/>
                  </a:lnTo>
                  <a:lnTo>
                    <a:pt x="3396" y="296"/>
                  </a:lnTo>
                  <a:lnTo>
                    <a:pt x="3406" y="303"/>
                  </a:lnTo>
                  <a:lnTo>
                    <a:pt x="3411" y="306"/>
                  </a:lnTo>
                  <a:lnTo>
                    <a:pt x="3416" y="311"/>
                  </a:lnTo>
                  <a:lnTo>
                    <a:pt x="3425" y="319"/>
                  </a:lnTo>
                  <a:lnTo>
                    <a:pt x="3434" y="326"/>
                  </a:lnTo>
                  <a:lnTo>
                    <a:pt x="3443" y="336"/>
                  </a:lnTo>
                  <a:lnTo>
                    <a:pt x="3450" y="345"/>
                  </a:lnTo>
                  <a:lnTo>
                    <a:pt x="3458" y="355"/>
                  </a:lnTo>
                  <a:lnTo>
                    <a:pt x="3465" y="366"/>
                  </a:lnTo>
                  <a:lnTo>
                    <a:pt x="3471" y="378"/>
                  </a:lnTo>
                  <a:lnTo>
                    <a:pt x="3477" y="390"/>
                  </a:lnTo>
                  <a:lnTo>
                    <a:pt x="3483" y="402"/>
                  </a:lnTo>
                  <a:lnTo>
                    <a:pt x="3487" y="415"/>
                  </a:lnTo>
                  <a:lnTo>
                    <a:pt x="3489" y="422"/>
                  </a:lnTo>
                  <a:lnTo>
                    <a:pt x="3491" y="429"/>
                  </a:lnTo>
                  <a:lnTo>
                    <a:pt x="3495" y="443"/>
                  </a:lnTo>
                  <a:lnTo>
                    <a:pt x="3498" y="458"/>
                  </a:lnTo>
                  <a:lnTo>
                    <a:pt x="3501" y="473"/>
                  </a:lnTo>
                  <a:lnTo>
                    <a:pt x="3502" y="490"/>
                  </a:lnTo>
                  <a:lnTo>
                    <a:pt x="3505" y="506"/>
                  </a:lnTo>
                  <a:lnTo>
                    <a:pt x="3506" y="523"/>
                  </a:lnTo>
                  <a:lnTo>
                    <a:pt x="3506" y="541"/>
                  </a:lnTo>
                  <a:close/>
                  <a:moveTo>
                    <a:pt x="3126" y="478"/>
                  </a:moveTo>
                  <a:lnTo>
                    <a:pt x="3338" y="478"/>
                  </a:lnTo>
                  <a:lnTo>
                    <a:pt x="3337" y="466"/>
                  </a:lnTo>
                  <a:lnTo>
                    <a:pt x="3335" y="455"/>
                  </a:lnTo>
                  <a:lnTo>
                    <a:pt x="3333" y="445"/>
                  </a:lnTo>
                  <a:lnTo>
                    <a:pt x="3329" y="436"/>
                  </a:lnTo>
                  <a:lnTo>
                    <a:pt x="3325" y="428"/>
                  </a:lnTo>
                  <a:lnTo>
                    <a:pt x="3319" y="420"/>
                  </a:lnTo>
                  <a:lnTo>
                    <a:pt x="3317" y="415"/>
                  </a:lnTo>
                  <a:lnTo>
                    <a:pt x="3314" y="412"/>
                  </a:lnTo>
                  <a:lnTo>
                    <a:pt x="3308" y="405"/>
                  </a:lnTo>
                  <a:lnTo>
                    <a:pt x="3300" y="400"/>
                  </a:lnTo>
                  <a:lnTo>
                    <a:pt x="3293" y="394"/>
                  </a:lnTo>
                  <a:lnTo>
                    <a:pt x="3285" y="390"/>
                  </a:lnTo>
                  <a:lnTo>
                    <a:pt x="3276" y="386"/>
                  </a:lnTo>
                  <a:lnTo>
                    <a:pt x="3267" y="383"/>
                  </a:lnTo>
                  <a:lnTo>
                    <a:pt x="3257" y="382"/>
                  </a:lnTo>
                  <a:lnTo>
                    <a:pt x="3247" y="380"/>
                  </a:lnTo>
                  <a:lnTo>
                    <a:pt x="3237" y="380"/>
                  </a:lnTo>
                  <a:lnTo>
                    <a:pt x="3226" y="380"/>
                  </a:lnTo>
                  <a:lnTo>
                    <a:pt x="3216" y="381"/>
                  </a:lnTo>
                  <a:lnTo>
                    <a:pt x="3206" y="383"/>
                  </a:lnTo>
                  <a:lnTo>
                    <a:pt x="3196" y="385"/>
                  </a:lnTo>
                  <a:lnTo>
                    <a:pt x="3187" y="389"/>
                  </a:lnTo>
                  <a:lnTo>
                    <a:pt x="3178" y="393"/>
                  </a:lnTo>
                  <a:lnTo>
                    <a:pt x="3170" y="398"/>
                  </a:lnTo>
                  <a:lnTo>
                    <a:pt x="3163" y="403"/>
                  </a:lnTo>
                  <a:lnTo>
                    <a:pt x="3156" y="409"/>
                  </a:lnTo>
                  <a:lnTo>
                    <a:pt x="3149" y="416"/>
                  </a:lnTo>
                  <a:lnTo>
                    <a:pt x="3144" y="424"/>
                  </a:lnTo>
                  <a:lnTo>
                    <a:pt x="3139" y="433"/>
                  </a:lnTo>
                  <a:lnTo>
                    <a:pt x="3137" y="438"/>
                  </a:lnTo>
                  <a:lnTo>
                    <a:pt x="3135" y="443"/>
                  </a:lnTo>
                  <a:lnTo>
                    <a:pt x="3131" y="453"/>
                  </a:lnTo>
                  <a:lnTo>
                    <a:pt x="3128" y="465"/>
                  </a:lnTo>
                  <a:lnTo>
                    <a:pt x="3126" y="4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415682025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slid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>
            <a:grpSpLocks noChangeAspect="1"/>
          </p:cNvGrpSpPr>
          <p:nvPr userDrawn="1"/>
        </p:nvGrpSpPr>
        <p:grpSpPr>
          <a:xfrm>
            <a:off x="10176312" y="5785848"/>
            <a:ext cx="1584176" cy="913626"/>
            <a:chOff x="10176312" y="5785848"/>
            <a:chExt cx="1584176" cy="913626"/>
          </a:xfrm>
        </p:grpSpPr>
        <p:sp>
          <p:nvSpPr>
            <p:cNvPr id="25" name="Freeform 6"/>
            <p:cNvSpPr>
              <a:spLocks/>
            </p:cNvSpPr>
            <p:nvPr userDrawn="1"/>
          </p:nvSpPr>
          <p:spPr bwMode="auto">
            <a:xfrm>
              <a:off x="10297850" y="6211927"/>
              <a:ext cx="1462638" cy="487547"/>
            </a:xfrm>
            <a:custGeom>
              <a:avLst/>
              <a:gdLst>
                <a:gd name="T0" fmla="*/ 0 w 10464"/>
                <a:gd name="T1" fmla="*/ 3488 h 3488"/>
                <a:gd name="T2" fmla="*/ 653 w 10464"/>
                <a:gd name="T3" fmla="*/ 3488 h 3488"/>
                <a:gd name="T4" fmla="*/ 1307 w 10464"/>
                <a:gd name="T5" fmla="*/ 3488 h 3488"/>
                <a:gd name="T6" fmla="*/ 1962 w 10464"/>
                <a:gd name="T7" fmla="*/ 3488 h 3488"/>
                <a:gd name="T8" fmla="*/ 2616 w 10464"/>
                <a:gd name="T9" fmla="*/ 3488 h 3488"/>
                <a:gd name="T10" fmla="*/ 3269 w 10464"/>
                <a:gd name="T11" fmla="*/ 3488 h 3488"/>
                <a:gd name="T12" fmla="*/ 3923 w 10464"/>
                <a:gd name="T13" fmla="*/ 3488 h 3488"/>
                <a:gd name="T14" fmla="*/ 4578 w 10464"/>
                <a:gd name="T15" fmla="*/ 3488 h 3488"/>
                <a:gd name="T16" fmla="*/ 5232 w 10464"/>
                <a:gd name="T17" fmla="*/ 3488 h 3488"/>
                <a:gd name="T18" fmla="*/ 5885 w 10464"/>
                <a:gd name="T19" fmla="*/ 3488 h 3488"/>
                <a:gd name="T20" fmla="*/ 6539 w 10464"/>
                <a:gd name="T21" fmla="*/ 3488 h 3488"/>
                <a:gd name="T22" fmla="*/ 7193 w 10464"/>
                <a:gd name="T23" fmla="*/ 3488 h 3488"/>
                <a:gd name="T24" fmla="*/ 7848 w 10464"/>
                <a:gd name="T25" fmla="*/ 3488 h 3488"/>
                <a:gd name="T26" fmla="*/ 8501 w 10464"/>
                <a:gd name="T27" fmla="*/ 3488 h 3488"/>
                <a:gd name="T28" fmla="*/ 9155 w 10464"/>
                <a:gd name="T29" fmla="*/ 3488 h 3488"/>
                <a:gd name="T30" fmla="*/ 9809 w 10464"/>
                <a:gd name="T31" fmla="*/ 3488 h 3488"/>
                <a:gd name="T32" fmla="*/ 10464 w 10464"/>
                <a:gd name="T33" fmla="*/ 3488 h 3488"/>
                <a:gd name="T34" fmla="*/ 10464 w 10464"/>
                <a:gd name="T35" fmla="*/ 2616 h 3488"/>
                <a:gd name="T36" fmla="*/ 10464 w 10464"/>
                <a:gd name="T37" fmla="*/ 1744 h 3488"/>
                <a:gd name="T38" fmla="*/ 10464 w 10464"/>
                <a:gd name="T39" fmla="*/ 872 h 3488"/>
                <a:gd name="T40" fmla="*/ 10464 w 10464"/>
                <a:gd name="T41" fmla="*/ 0 h 3488"/>
                <a:gd name="T42" fmla="*/ 9809 w 10464"/>
                <a:gd name="T43" fmla="*/ 0 h 3488"/>
                <a:gd name="T44" fmla="*/ 9155 w 10464"/>
                <a:gd name="T45" fmla="*/ 0 h 3488"/>
                <a:gd name="T46" fmla="*/ 8501 w 10464"/>
                <a:gd name="T47" fmla="*/ 0 h 3488"/>
                <a:gd name="T48" fmla="*/ 7848 w 10464"/>
                <a:gd name="T49" fmla="*/ 0 h 3488"/>
                <a:gd name="T50" fmla="*/ 7193 w 10464"/>
                <a:gd name="T51" fmla="*/ 0 h 3488"/>
                <a:gd name="T52" fmla="*/ 6539 w 10464"/>
                <a:gd name="T53" fmla="*/ 0 h 3488"/>
                <a:gd name="T54" fmla="*/ 5885 w 10464"/>
                <a:gd name="T55" fmla="*/ 0 h 3488"/>
                <a:gd name="T56" fmla="*/ 5232 w 10464"/>
                <a:gd name="T57" fmla="*/ 0 h 3488"/>
                <a:gd name="T58" fmla="*/ 4578 w 10464"/>
                <a:gd name="T59" fmla="*/ 0 h 3488"/>
                <a:gd name="T60" fmla="*/ 3923 w 10464"/>
                <a:gd name="T61" fmla="*/ 0 h 3488"/>
                <a:gd name="T62" fmla="*/ 3269 w 10464"/>
                <a:gd name="T63" fmla="*/ 0 h 3488"/>
                <a:gd name="T64" fmla="*/ 2616 w 10464"/>
                <a:gd name="T65" fmla="*/ 0 h 3488"/>
                <a:gd name="T66" fmla="*/ 1962 w 10464"/>
                <a:gd name="T67" fmla="*/ 0 h 3488"/>
                <a:gd name="T68" fmla="*/ 1307 w 10464"/>
                <a:gd name="T69" fmla="*/ 0 h 3488"/>
                <a:gd name="T70" fmla="*/ 653 w 10464"/>
                <a:gd name="T71" fmla="*/ 0 h 3488"/>
                <a:gd name="T72" fmla="*/ 0 w 10464"/>
                <a:gd name="T73" fmla="*/ 0 h 3488"/>
                <a:gd name="T74" fmla="*/ 0 w 10464"/>
                <a:gd name="T75" fmla="*/ 872 h 3488"/>
                <a:gd name="T76" fmla="*/ 0 w 10464"/>
                <a:gd name="T77" fmla="*/ 1744 h 3488"/>
                <a:gd name="T78" fmla="*/ 0 w 10464"/>
                <a:gd name="T79" fmla="*/ 2616 h 3488"/>
                <a:gd name="T80" fmla="*/ 0 w 10464"/>
                <a:gd name="T81" fmla="*/ 3488 h 3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0464" h="3488">
                  <a:moveTo>
                    <a:pt x="0" y="3488"/>
                  </a:moveTo>
                  <a:lnTo>
                    <a:pt x="653" y="3488"/>
                  </a:lnTo>
                  <a:lnTo>
                    <a:pt x="1307" y="3488"/>
                  </a:lnTo>
                  <a:lnTo>
                    <a:pt x="1962" y="3488"/>
                  </a:lnTo>
                  <a:lnTo>
                    <a:pt x="2616" y="3488"/>
                  </a:lnTo>
                  <a:lnTo>
                    <a:pt x="3269" y="3488"/>
                  </a:lnTo>
                  <a:lnTo>
                    <a:pt x="3923" y="3488"/>
                  </a:lnTo>
                  <a:lnTo>
                    <a:pt x="4578" y="3488"/>
                  </a:lnTo>
                  <a:lnTo>
                    <a:pt x="5232" y="3488"/>
                  </a:lnTo>
                  <a:lnTo>
                    <a:pt x="5885" y="3488"/>
                  </a:lnTo>
                  <a:lnTo>
                    <a:pt x="6539" y="3488"/>
                  </a:lnTo>
                  <a:lnTo>
                    <a:pt x="7193" y="3488"/>
                  </a:lnTo>
                  <a:lnTo>
                    <a:pt x="7848" y="3488"/>
                  </a:lnTo>
                  <a:lnTo>
                    <a:pt x="8501" y="3488"/>
                  </a:lnTo>
                  <a:lnTo>
                    <a:pt x="9155" y="3488"/>
                  </a:lnTo>
                  <a:lnTo>
                    <a:pt x="9809" y="3488"/>
                  </a:lnTo>
                  <a:lnTo>
                    <a:pt x="10464" y="3488"/>
                  </a:lnTo>
                  <a:lnTo>
                    <a:pt x="10464" y="2616"/>
                  </a:lnTo>
                  <a:lnTo>
                    <a:pt x="10464" y="1744"/>
                  </a:lnTo>
                  <a:lnTo>
                    <a:pt x="10464" y="872"/>
                  </a:lnTo>
                  <a:lnTo>
                    <a:pt x="10464" y="0"/>
                  </a:lnTo>
                  <a:lnTo>
                    <a:pt x="9809" y="0"/>
                  </a:lnTo>
                  <a:lnTo>
                    <a:pt x="9155" y="0"/>
                  </a:lnTo>
                  <a:lnTo>
                    <a:pt x="8501" y="0"/>
                  </a:lnTo>
                  <a:lnTo>
                    <a:pt x="7848" y="0"/>
                  </a:lnTo>
                  <a:lnTo>
                    <a:pt x="7193" y="0"/>
                  </a:lnTo>
                  <a:lnTo>
                    <a:pt x="6539" y="0"/>
                  </a:lnTo>
                  <a:lnTo>
                    <a:pt x="5885" y="0"/>
                  </a:lnTo>
                  <a:lnTo>
                    <a:pt x="5232" y="0"/>
                  </a:lnTo>
                  <a:lnTo>
                    <a:pt x="4578" y="0"/>
                  </a:lnTo>
                  <a:lnTo>
                    <a:pt x="3923" y="0"/>
                  </a:lnTo>
                  <a:lnTo>
                    <a:pt x="3269" y="0"/>
                  </a:lnTo>
                  <a:lnTo>
                    <a:pt x="2616" y="0"/>
                  </a:lnTo>
                  <a:lnTo>
                    <a:pt x="1962" y="0"/>
                  </a:lnTo>
                  <a:lnTo>
                    <a:pt x="1307" y="0"/>
                  </a:lnTo>
                  <a:lnTo>
                    <a:pt x="653" y="0"/>
                  </a:lnTo>
                  <a:lnTo>
                    <a:pt x="0" y="0"/>
                  </a:lnTo>
                  <a:lnTo>
                    <a:pt x="0" y="872"/>
                  </a:lnTo>
                  <a:lnTo>
                    <a:pt x="0" y="1744"/>
                  </a:lnTo>
                  <a:lnTo>
                    <a:pt x="0" y="2616"/>
                  </a:lnTo>
                  <a:lnTo>
                    <a:pt x="0" y="3488"/>
                  </a:lnTo>
                  <a:close/>
                </a:path>
              </a:pathLst>
            </a:custGeom>
            <a:solidFill>
              <a:srgbClr val="5AC3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6" name="Freeform 7"/>
            <p:cNvSpPr>
              <a:spLocks noEditPoints="1"/>
            </p:cNvSpPr>
            <p:nvPr userDrawn="1"/>
          </p:nvSpPr>
          <p:spPr bwMode="auto">
            <a:xfrm>
              <a:off x="10419386" y="6306922"/>
              <a:ext cx="1218166" cy="286381"/>
            </a:xfrm>
            <a:custGeom>
              <a:avLst/>
              <a:gdLst>
                <a:gd name="T0" fmla="*/ 3454 w 8720"/>
                <a:gd name="T1" fmla="*/ 1049 h 2050"/>
                <a:gd name="T2" fmla="*/ 3166 w 8720"/>
                <a:gd name="T3" fmla="*/ 1051 h 2050"/>
                <a:gd name="T4" fmla="*/ 3068 w 8720"/>
                <a:gd name="T5" fmla="*/ 1409 h 2050"/>
                <a:gd name="T6" fmla="*/ 3261 w 8720"/>
                <a:gd name="T7" fmla="*/ 1675 h 2050"/>
                <a:gd name="T8" fmla="*/ 3519 w 8720"/>
                <a:gd name="T9" fmla="*/ 1539 h 2050"/>
                <a:gd name="T10" fmla="*/ 3863 w 8720"/>
                <a:gd name="T11" fmla="*/ 1565 h 2050"/>
                <a:gd name="T12" fmla="*/ 3603 w 8720"/>
                <a:gd name="T13" fmla="*/ 1898 h 2050"/>
                <a:gd name="T14" fmla="*/ 3188 w 8720"/>
                <a:gd name="T15" fmla="*/ 1959 h 2050"/>
                <a:gd name="T16" fmla="*/ 2786 w 8720"/>
                <a:gd name="T17" fmla="*/ 1655 h 2050"/>
                <a:gd name="T18" fmla="*/ 2732 w 8720"/>
                <a:gd name="T19" fmla="*/ 1207 h 2050"/>
                <a:gd name="T20" fmla="*/ 3018 w 8720"/>
                <a:gd name="T21" fmla="*/ 786 h 2050"/>
                <a:gd name="T22" fmla="*/ 3503 w 8720"/>
                <a:gd name="T23" fmla="*/ 740 h 2050"/>
                <a:gd name="T24" fmla="*/ 3857 w 8720"/>
                <a:gd name="T25" fmla="*/ 1088 h 2050"/>
                <a:gd name="T26" fmla="*/ 4586 w 8720"/>
                <a:gd name="T27" fmla="*/ 1045 h 2050"/>
                <a:gd name="T28" fmla="*/ 4361 w 8720"/>
                <a:gd name="T29" fmla="*/ 1327 h 2050"/>
                <a:gd name="T30" fmla="*/ 4391 w 8720"/>
                <a:gd name="T31" fmla="*/ 895 h 2050"/>
                <a:gd name="T32" fmla="*/ 4703 w 8720"/>
                <a:gd name="T33" fmla="*/ 728 h 2050"/>
                <a:gd name="T34" fmla="*/ 5384 w 8720"/>
                <a:gd name="T35" fmla="*/ 1679 h 2050"/>
                <a:gd name="T36" fmla="*/ 5258 w 8720"/>
                <a:gd name="T37" fmla="*/ 1026 h 2050"/>
                <a:gd name="T38" fmla="*/ 4962 w 8720"/>
                <a:gd name="T39" fmla="*/ 1758 h 2050"/>
                <a:gd name="T40" fmla="*/ 5374 w 8720"/>
                <a:gd name="T41" fmla="*/ 1960 h 2050"/>
                <a:gd name="T42" fmla="*/ 6441 w 8720"/>
                <a:gd name="T43" fmla="*/ 1538 h 2050"/>
                <a:gd name="T44" fmla="*/ 6231 w 8720"/>
                <a:gd name="T45" fmla="*/ 1676 h 2050"/>
                <a:gd name="T46" fmla="*/ 6056 w 8720"/>
                <a:gd name="T47" fmla="*/ 1487 h 2050"/>
                <a:gd name="T48" fmla="*/ 5746 w 8720"/>
                <a:gd name="T49" fmla="*/ 1671 h 2050"/>
                <a:gd name="T50" fmla="*/ 5949 w 8720"/>
                <a:gd name="T51" fmla="*/ 1899 h 2050"/>
                <a:gd name="T52" fmla="*/ 6505 w 8720"/>
                <a:gd name="T53" fmla="*/ 1921 h 2050"/>
                <a:gd name="T54" fmla="*/ 6769 w 8720"/>
                <a:gd name="T55" fmla="*/ 1628 h 2050"/>
                <a:gd name="T56" fmla="*/ 8698 w 8720"/>
                <a:gd name="T57" fmla="*/ 985 h 2050"/>
                <a:gd name="T58" fmla="*/ 8484 w 8720"/>
                <a:gd name="T59" fmla="*/ 747 h 2050"/>
                <a:gd name="T60" fmla="*/ 8083 w 8720"/>
                <a:gd name="T61" fmla="*/ 806 h 2050"/>
                <a:gd name="T62" fmla="*/ 7885 w 8720"/>
                <a:gd name="T63" fmla="*/ 840 h 2050"/>
                <a:gd name="T64" fmla="*/ 7630 w 8720"/>
                <a:gd name="T65" fmla="*/ 721 h 2050"/>
                <a:gd name="T66" fmla="*/ 7324 w 8720"/>
                <a:gd name="T67" fmla="*/ 871 h 2050"/>
                <a:gd name="T68" fmla="*/ 7270 w 8720"/>
                <a:gd name="T69" fmla="*/ 1283 h 2050"/>
                <a:gd name="T70" fmla="*/ 7447 w 8720"/>
                <a:gd name="T71" fmla="*/ 1034 h 2050"/>
                <a:gd name="T72" fmla="*/ 7645 w 8720"/>
                <a:gd name="T73" fmla="*/ 1211 h 2050"/>
                <a:gd name="T74" fmla="*/ 8034 w 8720"/>
                <a:gd name="T75" fmla="*/ 1138 h 2050"/>
                <a:gd name="T76" fmla="*/ 8289 w 8720"/>
                <a:gd name="T77" fmla="*/ 1046 h 2050"/>
                <a:gd name="T78" fmla="*/ 8377 w 8720"/>
                <a:gd name="T79" fmla="*/ 1938 h 2050"/>
                <a:gd name="T80" fmla="*/ 2458 w 8720"/>
                <a:gd name="T81" fmla="*/ 483 h 2050"/>
                <a:gd name="T82" fmla="*/ 2107 w 8720"/>
                <a:gd name="T83" fmla="*/ 1483 h 2050"/>
                <a:gd name="T84" fmla="*/ 2152 w 8720"/>
                <a:gd name="T85" fmla="*/ 299 h 2050"/>
                <a:gd name="T86" fmla="*/ 2419 w 8720"/>
                <a:gd name="T87" fmla="*/ 83 h 2050"/>
                <a:gd name="T88" fmla="*/ 2622 w 8720"/>
                <a:gd name="T89" fmla="*/ 369 h 2050"/>
                <a:gd name="T90" fmla="*/ 1130 w 8720"/>
                <a:gd name="T91" fmla="*/ 2050 h 2050"/>
                <a:gd name="T92" fmla="*/ 570 w 8720"/>
                <a:gd name="T93" fmla="*/ 1915 h 2050"/>
                <a:gd name="T94" fmla="*/ 120 w 8720"/>
                <a:gd name="T95" fmla="*/ 1452 h 2050"/>
                <a:gd name="T96" fmla="*/ 8 w 8720"/>
                <a:gd name="T97" fmla="*/ 822 h 2050"/>
                <a:gd name="T98" fmla="*/ 222 w 8720"/>
                <a:gd name="T99" fmla="*/ 289 h 2050"/>
                <a:gd name="T100" fmla="*/ 690 w 8720"/>
                <a:gd name="T101" fmla="*/ 389 h 2050"/>
                <a:gd name="T102" fmla="*/ 424 w 8720"/>
                <a:gd name="T103" fmla="*/ 782 h 2050"/>
                <a:gd name="T104" fmla="*/ 460 w 8720"/>
                <a:gd name="T105" fmla="*/ 1242 h 2050"/>
                <a:gd name="T106" fmla="*/ 783 w 8720"/>
                <a:gd name="T107" fmla="*/ 1573 h 2050"/>
                <a:gd name="T108" fmla="*/ 1246 w 8720"/>
                <a:gd name="T109" fmla="*/ 1632 h 2050"/>
                <a:gd name="T110" fmla="*/ 745 w 8720"/>
                <a:gd name="T111" fmla="*/ 1453 h 2050"/>
                <a:gd name="T112" fmla="*/ 1347 w 8720"/>
                <a:gd name="T113" fmla="*/ 1509 h 2050"/>
                <a:gd name="T114" fmla="*/ 1693 w 8720"/>
                <a:gd name="T115" fmla="*/ 1099 h 2050"/>
                <a:gd name="T116" fmla="*/ 1523 w 8720"/>
                <a:gd name="T117" fmla="*/ 505 h 2050"/>
                <a:gd name="T118" fmla="*/ 1152 w 8720"/>
                <a:gd name="T119" fmla="*/ 342 h 2050"/>
                <a:gd name="T120" fmla="*/ 691 w 8720"/>
                <a:gd name="T121" fmla="*/ 497 h 2050"/>
                <a:gd name="T122" fmla="*/ 491 w 8720"/>
                <a:gd name="T123" fmla="*/ 1037 h 2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720" h="2050">
                  <a:moveTo>
                    <a:pt x="3554" y="1338"/>
                  </a:moveTo>
                  <a:lnTo>
                    <a:pt x="3553" y="1299"/>
                  </a:lnTo>
                  <a:lnTo>
                    <a:pt x="3550" y="1263"/>
                  </a:lnTo>
                  <a:lnTo>
                    <a:pt x="3546" y="1228"/>
                  </a:lnTo>
                  <a:lnTo>
                    <a:pt x="3538" y="1196"/>
                  </a:lnTo>
                  <a:lnTo>
                    <a:pt x="3529" y="1165"/>
                  </a:lnTo>
                  <a:lnTo>
                    <a:pt x="3518" y="1137"/>
                  </a:lnTo>
                  <a:lnTo>
                    <a:pt x="3511" y="1124"/>
                  </a:lnTo>
                  <a:lnTo>
                    <a:pt x="3504" y="1112"/>
                  </a:lnTo>
                  <a:lnTo>
                    <a:pt x="3490" y="1088"/>
                  </a:lnTo>
                  <a:lnTo>
                    <a:pt x="3473" y="1068"/>
                  </a:lnTo>
                  <a:lnTo>
                    <a:pt x="3454" y="1049"/>
                  </a:lnTo>
                  <a:lnTo>
                    <a:pt x="3436" y="1034"/>
                  </a:lnTo>
                  <a:lnTo>
                    <a:pt x="3413" y="1022"/>
                  </a:lnTo>
                  <a:lnTo>
                    <a:pt x="3390" y="1012"/>
                  </a:lnTo>
                  <a:lnTo>
                    <a:pt x="3366" y="1004"/>
                  </a:lnTo>
                  <a:lnTo>
                    <a:pt x="3339" y="1000"/>
                  </a:lnTo>
                  <a:lnTo>
                    <a:pt x="3311" y="998"/>
                  </a:lnTo>
                  <a:lnTo>
                    <a:pt x="3283" y="1000"/>
                  </a:lnTo>
                  <a:lnTo>
                    <a:pt x="3257" y="1004"/>
                  </a:lnTo>
                  <a:lnTo>
                    <a:pt x="3232" y="1012"/>
                  </a:lnTo>
                  <a:lnTo>
                    <a:pt x="3209" y="1022"/>
                  </a:lnTo>
                  <a:lnTo>
                    <a:pt x="3187" y="1035"/>
                  </a:lnTo>
                  <a:lnTo>
                    <a:pt x="3166" y="1051"/>
                  </a:lnTo>
                  <a:lnTo>
                    <a:pt x="3148" y="1069"/>
                  </a:lnTo>
                  <a:lnTo>
                    <a:pt x="3130" y="1091"/>
                  </a:lnTo>
                  <a:lnTo>
                    <a:pt x="3116" y="1114"/>
                  </a:lnTo>
                  <a:lnTo>
                    <a:pt x="3102" y="1139"/>
                  </a:lnTo>
                  <a:lnTo>
                    <a:pt x="3090" y="1167"/>
                  </a:lnTo>
                  <a:lnTo>
                    <a:pt x="3081" y="1197"/>
                  </a:lnTo>
                  <a:lnTo>
                    <a:pt x="3073" y="1228"/>
                  </a:lnTo>
                  <a:lnTo>
                    <a:pt x="3068" y="1263"/>
                  </a:lnTo>
                  <a:lnTo>
                    <a:pt x="3065" y="1298"/>
                  </a:lnTo>
                  <a:lnTo>
                    <a:pt x="3063" y="1336"/>
                  </a:lnTo>
                  <a:lnTo>
                    <a:pt x="3065" y="1374"/>
                  </a:lnTo>
                  <a:lnTo>
                    <a:pt x="3068" y="1409"/>
                  </a:lnTo>
                  <a:lnTo>
                    <a:pt x="3073" y="1444"/>
                  </a:lnTo>
                  <a:lnTo>
                    <a:pt x="3081" y="1477"/>
                  </a:lnTo>
                  <a:lnTo>
                    <a:pt x="3091" y="1507"/>
                  </a:lnTo>
                  <a:lnTo>
                    <a:pt x="3102" y="1536"/>
                  </a:lnTo>
                  <a:lnTo>
                    <a:pt x="3117" y="1562"/>
                  </a:lnTo>
                  <a:lnTo>
                    <a:pt x="3132" y="1586"/>
                  </a:lnTo>
                  <a:lnTo>
                    <a:pt x="3149" y="1607"/>
                  </a:lnTo>
                  <a:lnTo>
                    <a:pt x="3169" y="1626"/>
                  </a:lnTo>
                  <a:lnTo>
                    <a:pt x="3189" y="1643"/>
                  </a:lnTo>
                  <a:lnTo>
                    <a:pt x="3211" y="1656"/>
                  </a:lnTo>
                  <a:lnTo>
                    <a:pt x="3236" y="1667"/>
                  </a:lnTo>
                  <a:lnTo>
                    <a:pt x="3261" y="1675"/>
                  </a:lnTo>
                  <a:lnTo>
                    <a:pt x="3288" y="1679"/>
                  </a:lnTo>
                  <a:lnTo>
                    <a:pt x="3317" y="1680"/>
                  </a:lnTo>
                  <a:lnTo>
                    <a:pt x="3343" y="1679"/>
                  </a:lnTo>
                  <a:lnTo>
                    <a:pt x="3369" y="1675"/>
                  </a:lnTo>
                  <a:lnTo>
                    <a:pt x="3393" y="1667"/>
                  </a:lnTo>
                  <a:lnTo>
                    <a:pt x="3417" y="1657"/>
                  </a:lnTo>
                  <a:lnTo>
                    <a:pt x="3438" y="1644"/>
                  </a:lnTo>
                  <a:lnTo>
                    <a:pt x="3458" y="1628"/>
                  </a:lnTo>
                  <a:lnTo>
                    <a:pt x="3476" y="1609"/>
                  </a:lnTo>
                  <a:lnTo>
                    <a:pt x="3491" y="1588"/>
                  </a:lnTo>
                  <a:lnTo>
                    <a:pt x="3506" y="1565"/>
                  </a:lnTo>
                  <a:lnTo>
                    <a:pt x="3519" y="1539"/>
                  </a:lnTo>
                  <a:lnTo>
                    <a:pt x="3529" y="1512"/>
                  </a:lnTo>
                  <a:lnTo>
                    <a:pt x="3538" y="1480"/>
                  </a:lnTo>
                  <a:lnTo>
                    <a:pt x="3546" y="1448"/>
                  </a:lnTo>
                  <a:lnTo>
                    <a:pt x="3550" y="1414"/>
                  </a:lnTo>
                  <a:lnTo>
                    <a:pt x="3553" y="1377"/>
                  </a:lnTo>
                  <a:lnTo>
                    <a:pt x="3554" y="1338"/>
                  </a:lnTo>
                  <a:close/>
                  <a:moveTo>
                    <a:pt x="3897" y="1340"/>
                  </a:moveTo>
                  <a:lnTo>
                    <a:pt x="3893" y="1408"/>
                  </a:lnTo>
                  <a:lnTo>
                    <a:pt x="3885" y="1474"/>
                  </a:lnTo>
                  <a:lnTo>
                    <a:pt x="3880" y="1505"/>
                  </a:lnTo>
                  <a:lnTo>
                    <a:pt x="3872" y="1536"/>
                  </a:lnTo>
                  <a:lnTo>
                    <a:pt x="3863" y="1565"/>
                  </a:lnTo>
                  <a:lnTo>
                    <a:pt x="3853" y="1595"/>
                  </a:lnTo>
                  <a:lnTo>
                    <a:pt x="3843" y="1623"/>
                  </a:lnTo>
                  <a:lnTo>
                    <a:pt x="3831" y="1649"/>
                  </a:lnTo>
                  <a:lnTo>
                    <a:pt x="3803" y="1701"/>
                  </a:lnTo>
                  <a:lnTo>
                    <a:pt x="3771" y="1749"/>
                  </a:lnTo>
                  <a:lnTo>
                    <a:pt x="3753" y="1773"/>
                  </a:lnTo>
                  <a:lnTo>
                    <a:pt x="3734" y="1794"/>
                  </a:lnTo>
                  <a:lnTo>
                    <a:pt x="3716" y="1814"/>
                  </a:lnTo>
                  <a:lnTo>
                    <a:pt x="3694" y="1834"/>
                  </a:lnTo>
                  <a:lnTo>
                    <a:pt x="3650" y="1868"/>
                  </a:lnTo>
                  <a:lnTo>
                    <a:pt x="3627" y="1884"/>
                  </a:lnTo>
                  <a:lnTo>
                    <a:pt x="3603" y="1898"/>
                  </a:lnTo>
                  <a:lnTo>
                    <a:pt x="3552" y="1924"/>
                  </a:lnTo>
                  <a:lnTo>
                    <a:pt x="3526" y="1935"/>
                  </a:lnTo>
                  <a:lnTo>
                    <a:pt x="3498" y="1944"/>
                  </a:lnTo>
                  <a:lnTo>
                    <a:pt x="3470" y="1951"/>
                  </a:lnTo>
                  <a:lnTo>
                    <a:pt x="3441" y="1958"/>
                  </a:lnTo>
                  <a:lnTo>
                    <a:pt x="3411" y="1964"/>
                  </a:lnTo>
                  <a:lnTo>
                    <a:pt x="3381" y="1967"/>
                  </a:lnTo>
                  <a:lnTo>
                    <a:pt x="3319" y="1970"/>
                  </a:lnTo>
                  <a:lnTo>
                    <a:pt x="3285" y="1969"/>
                  </a:lnTo>
                  <a:lnTo>
                    <a:pt x="3252" y="1967"/>
                  </a:lnTo>
                  <a:lnTo>
                    <a:pt x="3220" y="1964"/>
                  </a:lnTo>
                  <a:lnTo>
                    <a:pt x="3188" y="1959"/>
                  </a:lnTo>
                  <a:lnTo>
                    <a:pt x="3158" y="1953"/>
                  </a:lnTo>
                  <a:lnTo>
                    <a:pt x="3128" y="1945"/>
                  </a:lnTo>
                  <a:lnTo>
                    <a:pt x="3071" y="1926"/>
                  </a:lnTo>
                  <a:lnTo>
                    <a:pt x="3018" y="1901"/>
                  </a:lnTo>
                  <a:lnTo>
                    <a:pt x="2993" y="1887"/>
                  </a:lnTo>
                  <a:lnTo>
                    <a:pt x="2969" y="1871"/>
                  </a:lnTo>
                  <a:lnTo>
                    <a:pt x="2924" y="1837"/>
                  </a:lnTo>
                  <a:lnTo>
                    <a:pt x="2882" y="1798"/>
                  </a:lnTo>
                  <a:lnTo>
                    <a:pt x="2864" y="1777"/>
                  </a:lnTo>
                  <a:lnTo>
                    <a:pt x="2846" y="1755"/>
                  </a:lnTo>
                  <a:lnTo>
                    <a:pt x="2814" y="1707"/>
                  </a:lnTo>
                  <a:lnTo>
                    <a:pt x="2786" y="1655"/>
                  </a:lnTo>
                  <a:lnTo>
                    <a:pt x="2775" y="1627"/>
                  </a:lnTo>
                  <a:lnTo>
                    <a:pt x="2764" y="1598"/>
                  </a:lnTo>
                  <a:lnTo>
                    <a:pt x="2754" y="1569"/>
                  </a:lnTo>
                  <a:lnTo>
                    <a:pt x="2746" y="1538"/>
                  </a:lnTo>
                  <a:lnTo>
                    <a:pt x="2738" y="1507"/>
                  </a:lnTo>
                  <a:lnTo>
                    <a:pt x="2732" y="1474"/>
                  </a:lnTo>
                  <a:lnTo>
                    <a:pt x="2728" y="1440"/>
                  </a:lnTo>
                  <a:lnTo>
                    <a:pt x="2725" y="1407"/>
                  </a:lnTo>
                  <a:lnTo>
                    <a:pt x="2722" y="1372"/>
                  </a:lnTo>
                  <a:lnTo>
                    <a:pt x="2721" y="1336"/>
                  </a:lnTo>
                  <a:lnTo>
                    <a:pt x="2725" y="1271"/>
                  </a:lnTo>
                  <a:lnTo>
                    <a:pt x="2732" y="1207"/>
                  </a:lnTo>
                  <a:lnTo>
                    <a:pt x="2738" y="1177"/>
                  </a:lnTo>
                  <a:lnTo>
                    <a:pt x="2746" y="1147"/>
                  </a:lnTo>
                  <a:lnTo>
                    <a:pt x="2764" y="1089"/>
                  </a:lnTo>
                  <a:lnTo>
                    <a:pt x="2775" y="1062"/>
                  </a:lnTo>
                  <a:lnTo>
                    <a:pt x="2787" y="1035"/>
                  </a:lnTo>
                  <a:lnTo>
                    <a:pt x="2815" y="983"/>
                  </a:lnTo>
                  <a:lnTo>
                    <a:pt x="2847" y="936"/>
                  </a:lnTo>
                  <a:lnTo>
                    <a:pt x="2865" y="913"/>
                  </a:lnTo>
                  <a:lnTo>
                    <a:pt x="2884" y="892"/>
                  </a:lnTo>
                  <a:lnTo>
                    <a:pt x="2925" y="852"/>
                  </a:lnTo>
                  <a:lnTo>
                    <a:pt x="2969" y="817"/>
                  </a:lnTo>
                  <a:lnTo>
                    <a:pt x="3018" y="786"/>
                  </a:lnTo>
                  <a:lnTo>
                    <a:pt x="3070" y="761"/>
                  </a:lnTo>
                  <a:lnTo>
                    <a:pt x="3098" y="750"/>
                  </a:lnTo>
                  <a:lnTo>
                    <a:pt x="3126" y="741"/>
                  </a:lnTo>
                  <a:lnTo>
                    <a:pt x="3155" y="732"/>
                  </a:lnTo>
                  <a:lnTo>
                    <a:pt x="3185" y="725"/>
                  </a:lnTo>
                  <a:lnTo>
                    <a:pt x="3216" y="721"/>
                  </a:lnTo>
                  <a:lnTo>
                    <a:pt x="3247" y="716"/>
                  </a:lnTo>
                  <a:lnTo>
                    <a:pt x="3311" y="713"/>
                  </a:lnTo>
                  <a:lnTo>
                    <a:pt x="3379" y="716"/>
                  </a:lnTo>
                  <a:lnTo>
                    <a:pt x="3411" y="720"/>
                  </a:lnTo>
                  <a:lnTo>
                    <a:pt x="3443" y="725"/>
                  </a:lnTo>
                  <a:lnTo>
                    <a:pt x="3503" y="740"/>
                  </a:lnTo>
                  <a:lnTo>
                    <a:pt x="3559" y="760"/>
                  </a:lnTo>
                  <a:lnTo>
                    <a:pt x="3586" y="772"/>
                  </a:lnTo>
                  <a:lnTo>
                    <a:pt x="3611" y="785"/>
                  </a:lnTo>
                  <a:lnTo>
                    <a:pt x="3636" y="800"/>
                  </a:lnTo>
                  <a:lnTo>
                    <a:pt x="3660" y="815"/>
                  </a:lnTo>
                  <a:lnTo>
                    <a:pt x="3703" y="851"/>
                  </a:lnTo>
                  <a:lnTo>
                    <a:pt x="3723" y="870"/>
                  </a:lnTo>
                  <a:lnTo>
                    <a:pt x="3743" y="890"/>
                  </a:lnTo>
                  <a:lnTo>
                    <a:pt x="3778" y="934"/>
                  </a:lnTo>
                  <a:lnTo>
                    <a:pt x="3809" y="982"/>
                  </a:lnTo>
                  <a:lnTo>
                    <a:pt x="3835" y="1033"/>
                  </a:lnTo>
                  <a:lnTo>
                    <a:pt x="3857" y="1088"/>
                  </a:lnTo>
                  <a:lnTo>
                    <a:pt x="3867" y="1117"/>
                  </a:lnTo>
                  <a:lnTo>
                    <a:pt x="3874" y="1147"/>
                  </a:lnTo>
                  <a:lnTo>
                    <a:pt x="3887" y="1208"/>
                  </a:lnTo>
                  <a:lnTo>
                    <a:pt x="3894" y="1273"/>
                  </a:lnTo>
                  <a:lnTo>
                    <a:pt x="3897" y="1340"/>
                  </a:lnTo>
                  <a:close/>
                  <a:moveTo>
                    <a:pt x="4810" y="1073"/>
                  </a:moveTo>
                  <a:lnTo>
                    <a:pt x="4769" y="1056"/>
                  </a:lnTo>
                  <a:lnTo>
                    <a:pt x="4732" y="1045"/>
                  </a:lnTo>
                  <a:lnTo>
                    <a:pt x="4694" y="1039"/>
                  </a:lnTo>
                  <a:lnTo>
                    <a:pt x="4653" y="1038"/>
                  </a:lnTo>
                  <a:lnTo>
                    <a:pt x="4619" y="1039"/>
                  </a:lnTo>
                  <a:lnTo>
                    <a:pt x="4586" y="1045"/>
                  </a:lnTo>
                  <a:lnTo>
                    <a:pt x="4555" y="1053"/>
                  </a:lnTo>
                  <a:lnTo>
                    <a:pt x="4526" y="1064"/>
                  </a:lnTo>
                  <a:lnTo>
                    <a:pt x="4501" y="1078"/>
                  </a:lnTo>
                  <a:lnTo>
                    <a:pt x="4476" y="1095"/>
                  </a:lnTo>
                  <a:lnTo>
                    <a:pt x="4453" y="1115"/>
                  </a:lnTo>
                  <a:lnTo>
                    <a:pt x="4433" y="1137"/>
                  </a:lnTo>
                  <a:lnTo>
                    <a:pt x="4415" y="1163"/>
                  </a:lnTo>
                  <a:lnTo>
                    <a:pt x="4400" y="1191"/>
                  </a:lnTo>
                  <a:lnTo>
                    <a:pt x="4386" y="1222"/>
                  </a:lnTo>
                  <a:lnTo>
                    <a:pt x="4375" y="1254"/>
                  </a:lnTo>
                  <a:lnTo>
                    <a:pt x="4366" y="1289"/>
                  </a:lnTo>
                  <a:lnTo>
                    <a:pt x="4361" y="1327"/>
                  </a:lnTo>
                  <a:lnTo>
                    <a:pt x="4356" y="1367"/>
                  </a:lnTo>
                  <a:lnTo>
                    <a:pt x="4355" y="1408"/>
                  </a:lnTo>
                  <a:lnTo>
                    <a:pt x="4355" y="1938"/>
                  </a:lnTo>
                  <a:lnTo>
                    <a:pt x="4017" y="1938"/>
                  </a:lnTo>
                  <a:lnTo>
                    <a:pt x="4017" y="1342"/>
                  </a:lnTo>
                  <a:lnTo>
                    <a:pt x="4017" y="746"/>
                  </a:lnTo>
                  <a:lnTo>
                    <a:pt x="4343" y="746"/>
                  </a:lnTo>
                  <a:lnTo>
                    <a:pt x="4343" y="1017"/>
                  </a:lnTo>
                  <a:lnTo>
                    <a:pt x="4352" y="984"/>
                  </a:lnTo>
                  <a:lnTo>
                    <a:pt x="4363" y="953"/>
                  </a:lnTo>
                  <a:lnTo>
                    <a:pt x="4375" y="923"/>
                  </a:lnTo>
                  <a:lnTo>
                    <a:pt x="4391" y="895"/>
                  </a:lnTo>
                  <a:lnTo>
                    <a:pt x="4408" y="870"/>
                  </a:lnTo>
                  <a:lnTo>
                    <a:pt x="4425" y="846"/>
                  </a:lnTo>
                  <a:lnTo>
                    <a:pt x="4446" y="824"/>
                  </a:lnTo>
                  <a:lnTo>
                    <a:pt x="4468" y="805"/>
                  </a:lnTo>
                  <a:lnTo>
                    <a:pt x="4492" y="787"/>
                  </a:lnTo>
                  <a:lnTo>
                    <a:pt x="4517" y="772"/>
                  </a:lnTo>
                  <a:lnTo>
                    <a:pt x="4544" y="758"/>
                  </a:lnTo>
                  <a:lnTo>
                    <a:pt x="4573" y="748"/>
                  </a:lnTo>
                  <a:lnTo>
                    <a:pt x="4603" y="740"/>
                  </a:lnTo>
                  <a:lnTo>
                    <a:pt x="4635" y="734"/>
                  </a:lnTo>
                  <a:lnTo>
                    <a:pt x="4669" y="730"/>
                  </a:lnTo>
                  <a:lnTo>
                    <a:pt x="4703" y="728"/>
                  </a:lnTo>
                  <a:lnTo>
                    <a:pt x="4753" y="732"/>
                  </a:lnTo>
                  <a:lnTo>
                    <a:pt x="4810" y="741"/>
                  </a:lnTo>
                  <a:lnTo>
                    <a:pt x="4810" y="1073"/>
                  </a:lnTo>
                  <a:close/>
                  <a:moveTo>
                    <a:pt x="5598" y="1938"/>
                  </a:moveTo>
                  <a:lnTo>
                    <a:pt x="5598" y="1670"/>
                  </a:lnTo>
                  <a:lnTo>
                    <a:pt x="5561" y="1678"/>
                  </a:lnTo>
                  <a:lnTo>
                    <a:pt x="5526" y="1683"/>
                  </a:lnTo>
                  <a:lnTo>
                    <a:pt x="5494" y="1685"/>
                  </a:lnTo>
                  <a:lnTo>
                    <a:pt x="5458" y="1686"/>
                  </a:lnTo>
                  <a:lnTo>
                    <a:pt x="5432" y="1685"/>
                  </a:lnTo>
                  <a:lnTo>
                    <a:pt x="5406" y="1683"/>
                  </a:lnTo>
                  <a:lnTo>
                    <a:pt x="5384" y="1679"/>
                  </a:lnTo>
                  <a:lnTo>
                    <a:pt x="5364" y="1674"/>
                  </a:lnTo>
                  <a:lnTo>
                    <a:pt x="5345" y="1667"/>
                  </a:lnTo>
                  <a:lnTo>
                    <a:pt x="5328" y="1658"/>
                  </a:lnTo>
                  <a:lnTo>
                    <a:pt x="5314" y="1648"/>
                  </a:lnTo>
                  <a:lnTo>
                    <a:pt x="5302" y="1636"/>
                  </a:lnTo>
                  <a:lnTo>
                    <a:pt x="5292" y="1622"/>
                  </a:lnTo>
                  <a:lnTo>
                    <a:pt x="5282" y="1605"/>
                  </a:lnTo>
                  <a:lnTo>
                    <a:pt x="5275" y="1587"/>
                  </a:lnTo>
                  <a:lnTo>
                    <a:pt x="5268" y="1566"/>
                  </a:lnTo>
                  <a:lnTo>
                    <a:pt x="5262" y="1517"/>
                  </a:lnTo>
                  <a:lnTo>
                    <a:pt x="5258" y="1459"/>
                  </a:lnTo>
                  <a:lnTo>
                    <a:pt x="5258" y="1026"/>
                  </a:lnTo>
                  <a:lnTo>
                    <a:pt x="5583" y="1026"/>
                  </a:lnTo>
                  <a:lnTo>
                    <a:pt x="5583" y="755"/>
                  </a:lnTo>
                  <a:lnTo>
                    <a:pt x="5258" y="755"/>
                  </a:lnTo>
                  <a:lnTo>
                    <a:pt x="5258" y="365"/>
                  </a:lnTo>
                  <a:lnTo>
                    <a:pt x="4920" y="556"/>
                  </a:lnTo>
                  <a:lnTo>
                    <a:pt x="4920" y="1037"/>
                  </a:lnTo>
                  <a:lnTo>
                    <a:pt x="4920" y="1519"/>
                  </a:lnTo>
                  <a:lnTo>
                    <a:pt x="4921" y="1575"/>
                  </a:lnTo>
                  <a:lnTo>
                    <a:pt x="4926" y="1627"/>
                  </a:lnTo>
                  <a:lnTo>
                    <a:pt x="4935" y="1674"/>
                  </a:lnTo>
                  <a:lnTo>
                    <a:pt x="4946" y="1718"/>
                  </a:lnTo>
                  <a:lnTo>
                    <a:pt x="4962" y="1758"/>
                  </a:lnTo>
                  <a:lnTo>
                    <a:pt x="4981" y="1794"/>
                  </a:lnTo>
                  <a:lnTo>
                    <a:pt x="5003" y="1826"/>
                  </a:lnTo>
                  <a:lnTo>
                    <a:pt x="5030" y="1855"/>
                  </a:lnTo>
                  <a:lnTo>
                    <a:pt x="5044" y="1868"/>
                  </a:lnTo>
                  <a:lnTo>
                    <a:pt x="5060" y="1880"/>
                  </a:lnTo>
                  <a:lnTo>
                    <a:pt x="5093" y="1901"/>
                  </a:lnTo>
                  <a:lnTo>
                    <a:pt x="5130" y="1920"/>
                  </a:lnTo>
                  <a:lnTo>
                    <a:pt x="5171" y="1935"/>
                  </a:lnTo>
                  <a:lnTo>
                    <a:pt x="5216" y="1946"/>
                  </a:lnTo>
                  <a:lnTo>
                    <a:pt x="5265" y="1954"/>
                  </a:lnTo>
                  <a:lnTo>
                    <a:pt x="5317" y="1959"/>
                  </a:lnTo>
                  <a:lnTo>
                    <a:pt x="5374" y="1960"/>
                  </a:lnTo>
                  <a:lnTo>
                    <a:pt x="5431" y="1959"/>
                  </a:lnTo>
                  <a:lnTo>
                    <a:pt x="5484" y="1956"/>
                  </a:lnTo>
                  <a:lnTo>
                    <a:pt x="5538" y="1949"/>
                  </a:lnTo>
                  <a:lnTo>
                    <a:pt x="5598" y="1938"/>
                  </a:lnTo>
                  <a:close/>
                  <a:moveTo>
                    <a:pt x="6796" y="1358"/>
                  </a:moveTo>
                  <a:lnTo>
                    <a:pt x="6796" y="746"/>
                  </a:lnTo>
                  <a:lnTo>
                    <a:pt x="6457" y="746"/>
                  </a:lnTo>
                  <a:lnTo>
                    <a:pt x="6457" y="1358"/>
                  </a:lnTo>
                  <a:lnTo>
                    <a:pt x="6455" y="1440"/>
                  </a:lnTo>
                  <a:lnTo>
                    <a:pt x="6451" y="1476"/>
                  </a:lnTo>
                  <a:lnTo>
                    <a:pt x="6447" y="1508"/>
                  </a:lnTo>
                  <a:lnTo>
                    <a:pt x="6441" y="1538"/>
                  </a:lnTo>
                  <a:lnTo>
                    <a:pt x="6435" y="1564"/>
                  </a:lnTo>
                  <a:lnTo>
                    <a:pt x="6426" y="1587"/>
                  </a:lnTo>
                  <a:lnTo>
                    <a:pt x="6415" y="1607"/>
                  </a:lnTo>
                  <a:lnTo>
                    <a:pt x="6402" y="1624"/>
                  </a:lnTo>
                  <a:lnTo>
                    <a:pt x="6388" y="1639"/>
                  </a:lnTo>
                  <a:lnTo>
                    <a:pt x="6373" y="1650"/>
                  </a:lnTo>
                  <a:lnTo>
                    <a:pt x="6355" y="1660"/>
                  </a:lnTo>
                  <a:lnTo>
                    <a:pt x="6334" y="1668"/>
                  </a:lnTo>
                  <a:lnTo>
                    <a:pt x="6311" y="1673"/>
                  </a:lnTo>
                  <a:lnTo>
                    <a:pt x="6287" y="1676"/>
                  </a:lnTo>
                  <a:lnTo>
                    <a:pt x="6259" y="1677"/>
                  </a:lnTo>
                  <a:lnTo>
                    <a:pt x="6231" y="1676"/>
                  </a:lnTo>
                  <a:lnTo>
                    <a:pt x="6206" y="1673"/>
                  </a:lnTo>
                  <a:lnTo>
                    <a:pt x="6181" y="1668"/>
                  </a:lnTo>
                  <a:lnTo>
                    <a:pt x="6160" y="1660"/>
                  </a:lnTo>
                  <a:lnTo>
                    <a:pt x="6141" y="1652"/>
                  </a:lnTo>
                  <a:lnTo>
                    <a:pt x="6124" y="1640"/>
                  </a:lnTo>
                  <a:lnTo>
                    <a:pt x="6109" y="1626"/>
                  </a:lnTo>
                  <a:lnTo>
                    <a:pt x="6096" y="1609"/>
                  </a:lnTo>
                  <a:lnTo>
                    <a:pt x="6085" y="1590"/>
                  </a:lnTo>
                  <a:lnTo>
                    <a:pt x="6075" y="1569"/>
                  </a:lnTo>
                  <a:lnTo>
                    <a:pt x="6067" y="1545"/>
                  </a:lnTo>
                  <a:lnTo>
                    <a:pt x="6060" y="1517"/>
                  </a:lnTo>
                  <a:lnTo>
                    <a:pt x="6056" y="1487"/>
                  </a:lnTo>
                  <a:lnTo>
                    <a:pt x="6053" y="1454"/>
                  </a:lnTo>
                  <a:lnTo>
                    <a:pt x="6050" y="1417"/>
                  </a:lnTo>
                  <a:lnTo>
                    <a:pt x="6049" y="1378"/>
                  </a:lnTo>
                  <a:lnTo>
                    <a:pt x="6049" y="746"/>
                  </a:lnTo>
                  <a:lnTo>
                    <a:pt x="5710" y="746"/>
                  </a:lnTo>
                  <a:lnTo>
                    <a:pt x="5710" y="1373"/>
                  </a:lnTo>
                  <a:lnTo>
                    <a:pt x="5713" y="1465"/>
                  </a:lnTo>
                  <a:lnTo>
                    <a:pt x="5715" y="1505"/>
                  </a:lnTo>
                  <a:lnTo>
                    <a:pt x="5718" y="1544"/>
                  </a:lnTo>
                  <a:lnTo>
                    <a:pt x="5729" y="1612"/>
                  </a:lnTo>
                  <a:lnTo>
                    <a:pt x="5737" y="1643"/>
                  </a:lnTo>
                  <a:lnTo>
                    <a:pt x="5746" y="1671"/>
                  </a:lnTo>
                  <a:lnTo>
                    <a:pt x="5756" y="1698"/>
                  </a:lnTo>
                  <a:lnTo>
                    <a:pt x="5768" y="1723"/>
                  </a:lnTo>
                  <a:lnTo>
                    <a:pt x="5780" y="1747"/>
                  </a:lnTo>
                  <a:lnTo>
                    <a:pt x="5796" y="1769"/>
                  </a:lnTo>
                  <a:lnTo>
                    <a:pt x="5812" y="1790"/>
                  </a:lnTo>
                  <a:lnTo>
                    <a:pt x="5830" y="1810"/>
                  </a:lnTo>
                  <a:lnTo>
                    <a:pt x="5849" y="1829"/>
                  </a:lnTo>
                  <a:lnTo>
                    <a:pt x="5872" y="1848"/>
                  </a:lnTo>
                  <a:lnTo>
                    <a:pt x="5889" y="1863"/>
                  </a:lnTo>
                  <a:lnTo>
                    <a:pt x="5908" y="1876"/>
                  </a:lnTo>
                  <a:lnTo>
                    <a:pt x="5928" y="1888"/>
                  </a:lnTo>
                  <a:lnTo>
                    <a:pt x="5949" y="1899"/>
                  </a:lnTo>
                  <a:lnTo>
                    <a:pt x="5972" y="1909"/>
                  </a:lnTo>
                  <a:lnTo>
                    <a:pt x="5994" y="1919"/>
                  </a:lnTo>
                  <a:lnTo>
                    <a:pt x="6040" y="1936"/>
                  </a:lnTo>
                  <a:lnTo>
                    <a:pt x="6091" y="1949"/>
                  </a:lnTo>
                  <a:lnTo>
                    <a:pt x="6144" y="1958"/>
                  </a:lnTo>
                  <a:lnTo>
                    <a:pt x="6199" y="1964"/>
                  </a:lnTo>
                  <a:lnTo>
                    <a:pt x="6257" y="1966"/>
                  </a:lnTo>
                  <a:lnTo>
                    <a:pt x="6325" y="1963"/>
                  </a:lnTo>
                  <a:lnTo>
                    <a:pt x="6388" y="1955"/>
                  </a:lnTo>
                  <a:lnTo>
                    <a:pt x="6419" y="1948"/>
                  </a:lnTo>
                  <a:lnTo>
                    <a:pt x="6448" y="1940"/>
                  </a:lnTo>
                  <a:lnTo>
                    <a:pt x="6505" y="1921"/>
                  </a:lnTo>
                  <a:lnTo>
                    <a:pt x="6531" y="1910"/>
                  </a:lnTo>
                  <a:lnTo>
                    <a:pt x="6557" y="1898"/>
                  </a:lnTo>
                  <a:lnTo>
                    <a:pt x="6605" y="1869"/>
                  </a:lnTo>
                  <a:lnTo>
                    <a:pt x="6626" y="1853"/>
                  </a:lnTo>
                  <a:lnTo>
                    <a:pt x="6647" y="1835"/>
                  </a:lnTo>
                  <a:lnTo>
                    <a:pt x="6667" y="1816"/>
                  </a:lnTo>
                  <a:lnTo>
                    <a:pt x="6685" y="1796"/>
                  </a:lnTo>
                  <a:lnTo>
                    <a:pt x="6699" y="1779"/>
                  </a:lnTo>
                  <a:lnTo>
                    <a:pt x="6712" y="1760"/>
                  </a:lnTo>
                  <a:lnTo>
                    <a:pt x="6735" y="1721"/>
                  </a:lnTo>
                  <a:lnTo>
                    <a:pt x="6755" y="1678"/>
                  </a:lnTo>
                  <a:lnTo>
                    <a:pt x="6769" y="1628"/>
                  </a:lnTo>
                  <a:lnTo>
                    <a:pt x="6781" y="1573"/>
                  </a:lnTo>
                  <a:lnTo>
                    <a:pt x="6786" y="1542"/>
                  </a:lnTo>
                  <a:lnTo>
                    <a:pt x="6790" y="1509"/>
                  </a:lnTo>
                  <a:lnTo>
                    <a:pt x="6795" y="1438"/>
                  </a:lnTo>
                  <a:lnTo>
                    <a:pt x="6796" y="1358"/>
                  </a:lnTo>
                  <a:close/>
                  <a:moveTo>
                    <a:pt x="8720" y="1938"/>
                  </a:moveTo>
                  <a:lnTo>
                    <a:pt x="8720" y="1254"/>
                  </a:lnTo>
                  <a:lnTo>
                    <a:pt x="8718" y="1185"/>
                  </a:lnTo>
                  <a:lnTo>
                    <a:pt x="8716" y="1124"/>
                  </a:lnTo>
                  <a:lnTo>
                    <a:pt x="8712" y="1072"/>
                  </a:lnTo>
                  <a:lnTo>
                    <a:pt x="8706" y="1025"/>
                  </a:lnTo>
                  <a:lnTo>
                    <a:pt x="8698" y="985"/>
                  </a:lnTo>
                  <a:lnTo>
                    <a:pt x="8688" y="950"/>
                  </a:lnTo>
                  <a:lnTo>
                    <a:pt x="8676" y="918"/>
                  </a:lnTo>
                  <a:lnTo>
                    <a:pt x="8662" y="891"/>
                  </a:lnTo>
                  <a:lnTo>
                    <a:pt x="8650" y="871"/>
                  </a:lnTo>
                  <a:lnTo>
                    <a:pt x="8636" y="853"/>
                  </a:lnTo>
                  <a:lnTo>
                    <a:pt x="8622" y="836"/>
                  </a:lnTo>
                  <a:lnTo>
                    <a:pt x="8605" y="820"/>
                  </a:lnTo>
                  <a:lnTo>
                    <a:pt x="8589" y="805"/>
                  </a:lnTo>
                  <a:lnTo>
                    <a:pt x="8570" y="791"/>
                  </a:lnTo>
                  <a:lnTo>
                    <a:pt x="8529" y="766"/>
                  </a:lnTo>
                  <a:lnTo>
                    <a:pt x="8506" y="756"/>
                  </a:lnTo>
                  <a:lnTo>
                    <a:pt x="8484" y="747"/>
                  </a:lnTo>
                  <a:lnTo>
                    <a:pt x="8436" y="733"/>
                  </a:lnTo>
                  <a:lnTo>
                    <a:pt x="8385" y="724"/>
                  </a:lnTo>
                  <a:lnTo>
                    <a:pt x="8332" y="721"/>
                  </a:lnTo>
                  <a:lnTo>
                    <a:pt x="8300" y="722"/>
                  </a:lnTo>
                  <a:lnTo>
                    <a:pt x="8269" y="725"/>
                  </a:lnTo>
                  <a:lnTo>
                    <a:pt x="8239" y="731"/>
                  </a:lnTo>
                  <a:lnTo>
                    <a:pt x="8210" y="737"/>
                  </a:lnTo>
                  <a:lnTo>
                    <a:pt x="8182" y="747"/>
                  </a:lnTo>
                  <a:lnTo>
                    <a:pt x="8155" y="758"/>
                  </a:lnTo>
                  <a:lnTo>
                    <a:pt x="8130" y="772"/>
                  </a:lnTo>
                  <a:lnTo>
                    <a:pt x="8106" y="788"/>
                  </a:lnTo>
                  <a:lnTo>
                    <a:pt x="8083" y="806"/>
                  </a:lnTo>
                  <a:lnTo>
                    <a:pt x="8061" y="827"/>
                  </a:lnTo>
                  <a:lnTo>
                    <a:pt x="8040" y="850"/>
                  </a:lnTo>
                  <a:lnTo>
                    <a:pt x="8021" y="874"/>
                  </a:lnTo>
                  <a:lnTo>
                    <a:pt x="8002" y="902"/>
                  </a:lnTo>
                  <a:lnTo>
                    <a:pt x="7984" y="931"/>
                  </a:lnTo>
                  <a:lnTo>
                    <a:pt x="7968" y="963"/>
                  </a:lnTo>
                  <a:lnTo>
                    <a:pt x="7951" y="997"/>
                  </a:lnTo>
                  <a:lnTo>
                    <a:pt x="7942" y="964"/>
                  </a:lnTo>
                  <a:lnTo>
                    <a:pt x="7932" y="933"/>
                  </a:lnTo>
                  <a:lnTo>
                    <a:pt x="7908" y="876"/>
                  </a:lnTo>
                  <a:lnTo>
                    <a:pt x="7893" y="852"/>
                  </a:lnTo>
                  <a:lnTo>
                    <a:pt x="7885" y="840"/>
                  </a:lnTo>
                  <a:lnTo>
                    <a:pt x="7877" y="828"/>
                  </a:lnTo>
                  <a:lnTo>
                    <a:pt x="7869" y="818"/>
                  </a:lnTo>
                  <a:lnTo>
                    <a:pt x="7859" y="808"/>
                  </a:lnTo>
                  <a:lnTo>
                    <a:pt x="7840" y="791"/>
                  </a:lnTo>
                  <a:lnTo>
                    <a:pt x="7820" y="774"/>
                  </a:lnTo>
                  <a:lnTo>
                    <a:pt x="7798" y="760"/>
                  </a:lnTo>
                  <a:lnTo>
                    <a:pt x="7773" y="748"/>
                  </a:lnTo>
                  <a:lnTo>
                    <a:pt x="7748" y="738"/>
                  </a:lnTo>
                  <a:lnTo>
                    <a:pt x="7721" y="731"/>
                  </a:lnTo>
                  <a:lnTo>
                    <a:pt x="7692" y="725"/>
                  </a:lnTo>
                  <a:lnTo>
                    <a:pt x="7662" y="722"/>
                  </a:lnTo>
                  <a:lnTo>
                    <a:pt x="7630" y="721"/>
                  </a:lnTo>
                  <a:lnTo>
                    <a:pt x="7598" y="722"/>
                  </a:lnTo>
                  <a:lnTo>
                    <a:pt x="7567" y="725"/>
                  </a:lnTo>
                  <a:lnTo>
                    <a:pt x="7537" y="730"/>
                  </a:lnTo>
                  <a:lnTo>
                    <a:pt x="7509" y="737"/>
                  </a:lnTo>
                  <a:lnTo>
                    <a:pt x="7481" y="746"/>
                  </a:lnTo>
                  <a:lnTo>
                    <a:pt x="7456" y="757"/>
                  </a:lnTo>
                  <a:lnTo>
                    <a:pt x="7431" y="771"/>
                  </a:lnTo>
                  <a:lnTo>
                    <a:pt x="7408" y="786"/>
                  </a:lnTo>
                  <a:lnTo>
                    <a:pt x="7386" y="804"/>
                  </a:lnTo>
                  <a:lnTo>
                    <a:pt x="7364" y="824"/>
                  </a:lnTo>
                  <a:lnTo>
                    <a:pt x="7344" y="846"/>
                  </a:lnTo>
                  <a:lnTo>
                    <a:pt x="7324" y="871"/>
                  </a:lnTo>
                  <a:lnTo>
                    <a:pt x="7307" y="896"/>
                  </a:lnTo>
                  <a:lnTo>
                    <a:pt x="7288" y="925"/>
                  </a:lnTo>
                  <a:lnTo>
                    <a:pt x="7270" y="956"/>
                  </a:lnTo>
                  <a:lnTo>
                    <a:pt x="7253" y="990"/>
                  </a:lnTo>
                  <a:lnTo>
                    <a:pt x="7253" y="746"/>
                  </a:lnTo>
                  <a:lnTo>
                    <a:pt x="6927" y="746"/>
                  </a:lnTo>
                  <a:lnTo>
                    <a:pt x="6927" y="1342"/>
                  </a:lnTo>
                  <a:lnTo>
                    <a:pt x="6927" y="1938"/>
                  </a:lnTo>
                  <a:lnTo>
                    <a:pt x="7266" y="1938"/>
                  </a:lnTo>
                  <a:lnTo>
                    <a:pt x="7266" y="1384"/>
                  </a:lnTo>
                  <a:lnTo>
                    <a:pt x="7267" y="1329"/>
                  </a:lnTo>
                  <a:lnTo>
                    <a:pt x="7270" y="1283"/>
                  </a:lnTo>
                  <a:lnTo>
                    <a:pt x="7276" y="1242"/>
                  </a:lnTo>
                  <a:lnTo>
                    <a:pt x="7283" y="1207"/>
                  </a:lnTo>
                  <a:lnTo>
                    <a:pt x="7290" y="1187"/>
                  </a:lnTo>
                  <a:lnTo>
                    <a:pt x="7297" y="1169"/>
                  </a:lnTo>
                  <a:lnTo>
                    <a:pt x="7314" y="1135"/>
                  </a:lnTo>
                  <a:lnTo>
                    <a:pt x="7323" y="1118"/>
                  </a:lnTo>
                  <a:lnTo>
                    <a:pt x="7334" y="1104"/>
                  </a:lnTo>
                  <a:lnTo>
                    <a:pt x="7359" y="1078"/>
                  </a:lnTo>
                  <a:lnTo>
                    <a:pt x="7386" y="1058"/>
                  </a:lnTo>
                  <a:lnTo>
                    <a:pt x="7416" y="1043"/>
                  </a:lnTo>
                  <a:lnTo>
                    <a:pt x="7431" y="1037"/>
                  </a:lnTo>
                  <a:lnTo>
                    <a:pt x="7447" y="1034"/>
                  </a:lnTo>
                  <a:lnTo>
                    <a:pt x="7481" y="1031"/>
                  </a:lnTo>
                  <a:lnTo>
                    <a:pt x="7506" y="1032"/>
                  </a:lnTo>
                  <a:lnTo>
                    <a:pt x="7530" y="1037"/>
                  </a:lnTo>
                  <a:lnTo>
                    <a:pt x="7551" y="1045"/>
                  </a:lnTo>
                  <a:lnTo>
                    <a:pt x="7570" y="1056"/>
                  </a:lnTo>
                  <a:lnTo>
                    <a:pt x="7588" y="1069"/>
                  </a:lnTo>
                  <a:lnTo>
                    <a:pt x="7602" y="1086"/>
                  </a:lnTo>
                  <a:lnTo>
                    <a:pt x="7615" y="1106"/>
                  </a:lnTo>
                  <a:lnTo>
                    <a:pt x="7621" y="1116"/>
                  </a:lnTo>
                  <a:lnTo>
                    <a:pt x="7625" y="1127"/>
                  </a:lnTo>
                  <a:lnTo>
                    <a:pt x="7638" y="1165"/>
                  </a:lnTo>
                  <a:lnTo>
                    <a:pt x="7645" y="1211"/>
                  </a:lnTo>
                  <a:lnTo>
                    <a:pt x="7650" y="1268"/>
                  </a:lnTo>
                  <a:lnTo>
                    <a:pt x="7651" y="1342"/>
                  </a:lnTo>
                  <a:lnTo>
                    <a:pt x="7651" y="1938"/>
                  </a:lnTo>
                  <a:lnTo>
                    <a:pt x="7993" y="1938"/>
                  </a:lnTo>
                  <a:lnTo>
                    <a:pt x="7993" y="1364"/>
                  </a:lnTo>
                  <a:lnTo>
                    <a:pt x="7993" y="1325"/>
                  </a:lnTo>
                  <a:lnTo>
                    <a:pt x="7996" y="1287"/>
                  </a:lnTo>
                  <a:lnTo>
                    <a:pt x="8000" y="1253"/>
                  </a:lnTo>
                  <a:lnTo>
                    <a:pt x="8006" y="1221"/>
                  </a:lnTo>
                  <a:lnTo>
                    <a:pt x="8014" y="1191"/>
                  </a:lnTo>
                  <a:lnTo>
                    <a:pt x="8023" y="1164"/>
                  </a:lnTo>
                  <a:lnTo>
                    <a:pt x="8034" y="1138"/>
                  </a:lnTo>
                  <a:lnTo>
                    <a:pt x="8046" y="1116"/>
                  </a:lnTo>
                  <a:lnTo>
                    <a:pt x="8061" y="1096"/>
                  </a:lnTo>
                  <a:lnTo>
                    <a:pt x="8078" y="1079"/>
                  </a:lnTo>
                  <a:lnTo>
                    <a:pt x="8095" y="1064"/>
                  </a:lnTo>
                  <a:lnTo>
                    <a:pt x="8114" y="1052"/>
                  </a:lnTo>
                  <a:lnTo>
                    <a:pt x="8135" y="1043"/>
                  </a:lnTo>
                  <a:lnTo>
                    <a:pt x="8158" y="1036"/>
                  </a:lnTo>
                  <a:lnTo>
                    <a:pt x="8182" y="1032"/>
                  </a:lnTo>
                  <a:lnTo>
                    <a:pt x="8208" y="1031"/>
                  </a:lnTo>
                  <a:lnTo>
                    <a:pt x="8238" y="1032"/>
                  </a:lnTo>
                  <a:lnTo>
                    <a:pt x="8264" y="1037"/>
                  </a:lnTo>
                  <a:lnTo>
                    <a:pt x="8289" y="1046"/>
                  </a:lnTo>
                  <a:lnTo>
                    <a:pt x="8310" y="1058"/>
                  </a:lnTo>
                  <a:lnTo>
                    <a:pt x="8320" y="1066"/>
                  </a:lnTo>
                  <a:lnTo>
                    <a:pt x="8329" y="1075"/>
                  </a:lnTo>
                  <a:lnTo>
                    <a:pt x="8336" y="1084"/>
                  </a:lnTo>
                  <a:lnTo>
                    <a:pt x="8343" y="1095"/>
                  </a:lnTo>
                  <a:lnTo>
                    <a:pt x="8356" y="1118"/>
                  </a:lnTo>
                  <a:lnTo>
                    <a:pt x="8365" y="1146"/>
                  </a:lnTo>
                  <a:lnTo>
                    <a:pt x="8370" y="1178"/>
                  </a:lnTo>
                  <a:lnTo>
                    <a:pt x="8374" y="1219"/>
                  </a:lnTo>
                  <a:lnTo>
                    <a:pt x="8376" y="1268"/>
                  </a:lnTo>
                  <a:lnTo>
                    <a:pt x="8377" y="1324"/>
                  </a:lnTo>
                  <a:lnTo>
                    <a:pt x="8377" y="1938"/>
                  </a:lnTo>
                  <a:lnTo>
                    <a:pt x="8720" y="1938"/>
                  </a:lnTo>
                  <a:close/>
                  <a:moveTo>
                    <a:pt x="2622" y="369"/>
                  </a:moveTo>
                  <a:lnTo>
                    <a:pt x="2584" y="372"/>
                  </a:lnTo>
                  <a:lnTo>
                    <a:pt x="2566" y="376"/>
                  </a:lnTo>
                  <a:lnTo>
                    <a:pt x="2549" y="382"/>
                  </a:lnTo>
                  <a:lnTo>
                    <a:pt x="2534" y="390"/>
                  </a:lnTo>
                  <a:lnTo>
                    <a:pt x="2519" y="399"/>
                  </a:lnTo>
                  <a:lnTo>
                    <a:pt x="2494" y="421"/>
                  </a:lnTo>
                  <a:lnTo>
                    <a:pt x="2483" y="434"/>
                  </a:lnTo>
                  <a:lnTo>
                    <a:pt x="2473" y="450"/>
                  </a:lnTo>
                  <a:lnTo>
                    <a:pt x="2465" y="465"/>
                  </a:lnTo>
                  <a:lnTo>
                    <a:pt x="2458" y="483"/>
                  </a:lnTo>
                  <a:lnTo>
                    <a:pt x="2453" y="502"/>
                  </a:lnTo>
                  <a:lnTo>
                    <a:pt x="2449" y="521"/>
                  </a:lnTo>
                  <a:lnTo>
                    <a:pt x="2446" y="542"/>
                  </a:lnTo>
                  <a:lnTo>
                    <a:pt x="2446" y="564"/>
                  </a:lnTo>
                  <a:lnTo>
                    <a:pt x="2446" y="757"/>
                  </a:lnTo>
                  <a:lnTo>
                    <a:pt x="2692" y="757"/>
                  </a:lnTo>
                  <a:lnTo>
                    <a:pt x="2692" y="1027"/>
                  </a:lnTo>
                  <a:lnTo>
                    <a:pt x="2446" y="1027"/>
                  </a:lnTo>
                  <a:lnTo>
                    <a:pt x="2446" y="1483"/>
                  </a:lnTo>
                  <a:lnTo>
                    <a:pt x="2446" y="1938"/>
                  </a:lnTo>
                  <a:lnTo>
                    <a:pt x="2107" y="1938"/>
                  </a:lnTo>
                  <a:lnTo>
                    <a:pt x="2107" y="1483"/>
                  </a:lnTo>
                  <a:lnTo>
                    <a:pt x="2107" y="1027"/>
                  </a:lnTo>
                  <a:lnTo>
                    <a:pt x="1950" y="1027"/>
                  </a:lnTo>
                  <a:lnTo>
                    <a:pt x="1950" y="757"/>
                  </a:lnTo>
                  <a:lnTo>
                    <a:pt x="2107" y="757"/>
                  </a:lnTo>
                  <a:lnTo>
                    <a:pt x="2107" y="595"/>
                  </a:lnTo>
                  <a:lnTo>
                    <a:pt x="2110" y="501"/>
                  </a:lnTo>
                  <a:lnTo>
                    <a:pt x="2115" y="454"/>
                  </a:lnTo>
                  <a:lnTo>
                    <a:pt x="2122" y="407"/>
                  </a:lnTo>
                  <a:lnTo>
                    <a:pt x="2126" y="385"/>
                  </a:lnTo>
                  <a:lnTo>
                    <a:pt x="2130" y="363"/>
                  </a:lnTo>
                  <a:lnTo>
                    <a:pt x="2144" y="320"/>
                  </a:lnTo>
                  <a:lnTo>
                    <a:pt x="2152" y="299"/>
                  </a:lnTo>
                  <a:lnTo>
                    <a:pt x="2160" y="278"/>
                  </a:lnTo>
                  <a:lnTo>
                    <a:pt x="2182" y="240"/>
                  </a:lnTo>
                  <a:lnTo>
                    <a:pt x="2207" y="203"/>
                  </a:lnTo>
                  <a:lnTo>
                    <a:pt x="2222" y="186"/>
                  </a:lnTo>
                  <a:lnTo>
                    <a:pt x="2238" y="171"/>
                  </a:lnTo>
                  <a:lnTo>
                    <a:pt x="2255" y="156"/>
                  </a:lnTo>
                  <a:lnTo>
                    <a:pt x="2274" y="142"/>
                  </a:lnTo>
                  <a:lnTo>
                    <a:pt x="2316" y="118"/>
                  </a:lnTo>
                  <a:lnTo>
                    <a:pt x="2339" y="108"/>
                  </a:lnTo>
                  <a:lnTo>
                    <a:pt x="2365" y="99"/>
                  </a:lnTo>
                  <a:lnTo>
                    <a:pt x="2391" y="90"/>
                  </a:lnTo>
                  <a:lnTo>
                    <a:pt x="2419" y="83"/>
                  </a:lnTo>
                  <a:lnTo>
                    <a:pt x="2449" y="79"/>
                  </a:lnTo>
                  <a:lnTo>
                    <a:pt x="2481" y="74"/>
                  </a:lnTo>
                  <a:lnTo>
                    <a:pt x="2516" y="72"/>
                  </a:lnTo>
                  <a:lnTo>
                    <a:pt x="2551" y="71"/>
                  </a:lnTo>
                  <a:lnTo>
                    <a:pt x="2615" y="73"/>
                  </a:lnTo>
                  <a:lnTo>
                    <a:pt x="2668" y="79"/>
                  </a:lnTo>
                  <a:lnTo>
                    <a:pt x="2721" y="88"/>
                  </a:lnTo>
                  <a:lnTo>
                    <a:pt x="2782" y="100"/>
                  </a:lnTo>
                  <a:lnTo>
                    <a:pt x="2782" y="390"/>
                  </a:lnTo>
                  <a:lnTo>
                    <a:pt x="2717" y="375"/>
                  </a:lnTo>
                  <a:lnTo>
                    <a:pt x="2676" y="371"/>
                  </a:lnTo>
                  <a:lnTo>
                    <a:pt x="2622" y="369"/>
                  </a:lnTo>
                  <a:close/>
                  <a:moveTo>
                    <a:pt x="1447" y="1554"/>
                  </a:moveTo>
                  <a:lnTo>
                    <a:pt x="1649" y="1903"/>
                  </a:lnTo>
                  <a:lnTo>
                    <a:pt x="1599" y="1930"/>
                  </a:lnTo>
                  <a:lnTo>
                    <a:pt x="1549" y="1955"/>
                  </a:lnTo>
                  <a:lnTo>
                    <a:pt x="1498" y="1976"/>
                  </a:lnTo>
                  <a:lnTo>
                    <a:pt x="1446" y="1995"/>
                  </a:lnTo>
                  <a:lnTo>
                    <a:pt x="1394" y="2010"/>
                  </a:lnTo>
                  <a:lnTo>
                    <a:pt x="1342" y="2024"/>
                  </a:lnTo>
                  <a:lnTo>
                    <a:pt x="1288" y="2035"/>
                  </a:lnTo>
                  <a:lnTo>
                    <a:pt x="1235" y="2042"/>
                  </a:lnTo>
                  <a:lnTo>
                    <a:pt x="1183" y="2047"/>
                  </a:lnTo>
                  <a:lnTo>
                    <a:pt x="1130" y="2050"/>
                  </a:lnTo>
                  <a:lnTo>
                    <a:pt x="1076" y="2050"/>
                  </a:lnTo>
                  <a:lnTo>
                    <a:pt x="1023" y="2048"/>
                  </a:lnTo>
                  <a:lnTo>
                    <a:pt x="971" y="2042"/>
                  </a:lnTo>
                  <a:lnTo>
                    <a:pt x="919" y="2036"/>
                  </a:lnTo>
                  <a:lnTo>
                    <a:pt x="866" y="2026"/>
                  </a:lnTo>
                  <a:lnTo>
                    <a:pt x="815" y="2012"/>
                  </a:lnTo>
                  <a:lnTo>
                    <a:pt x="764" y="1998"/>
                  </a:lnTo>
                  <a:lnTo>
                    <a:pt x="714" y="1981"/>
                  </a:lnTo>
                  <a:lnTo>
                    <a:pt x="690" y="1971"/>
                  </a:lnTo>
                  <a:lnTo>
                    <a:pt x="665" y="1961"/>
                  </a:lnTo>
                  <a:lnTo>
                    <a:pt x="618" y="1939"/>
                  </a:lnTo>
                  <a:lnTo>
                    <a:pt x="570" y="1915"/>
                  </a:lnTo>
                  <a:lnTo>
                    <a:pt x="524" y="1888"/>
                  </a:lnTo>
                  <a:lnTo>
                    <a:pt x="480" y="1859"/>
                  </a:lnTo>
                  <a:lnTo>
                    <a:pt x="436" y="1828"/>
                  </a:lnTo>
                  <a:lnTo>
                    <a:pt x="394" y="1795"/>
                  </a:lnTo>
                  <a:lnTo>
                    <a:pt x="353" y="1759"/>
                  </a:lnTo>
                  <a:lnTo>
                    <a:pt x="314" y="1721"/>
                  </a:lnTo>
                  <a:lnTo>
                    <a:pt x="278" y="1681"/>
                  </a:lnTo>
                  <a:lnTo>
                    <a:pt x="242" y="1639"/>
                  </a:lnTo>
                  <a:lnTo>
                    <a:pt x="209" y="1596"/>
                  </a:lnTo>
                  <a:lnTo>
                    <a:pt x="177" y="1549"/>
                  </a:lnTo>
                  <a:lnTo>
                    <a:pt x="148" y="1502"/>
                  </a:lnTo>
                  <a:lnTo>
                    <a:pt x="120" y="1452"/>
                  </a:lnTo>
                  <a:lnTo>
                    <a:pt x="97" y="1400"/>
                  </a:lnTo>
                  <a:lnTo>
                    <a:pt x="74" y="1349"/>
                  </a:lnTo>
                  <a:lnTo>
                    <a:pt x="55" y="1298"/>
                  </a:lnTo>
                  <a:lnTo>
                    <a:pt x="40" y="1246"/>
                  </a:lnTo>
                  <a:lnTo>
                    <a:pt x="27" y="1193"/>
                  </a:lnTo>
                  <a:lnTo>
                    <a:pt x="17" y="1141"/>
                  </a:lnTo>
                  <a:lnTo>
                    <a:pt x="8" y="1087"/>
                  </a:lnTo>
                  <a:lnTo>
                    <a:pt x="3" y="1034"/>
                  </a:lnTo>
                  <a:lnTo>
                    <a:pt x="0" y="981"/>
                  </a:lnTo>
                  <a:lnTo>
                    <a:pt x="0" y="928"/>
                  </a:lnTo>
                  <a:lnTo>
                    <a:pt x="2" y="875"/>
                  </a:lnTo>
                  <a:lnTo>
                    <a:pt x="8" y="822"/>
                  </a:lnTo>
                  <a:lnTo>
                    <a:pt x="15" y="770"/>
                  </a:lnTo>
                  <a:lnTo>
                    <a:pt x="25" y="718"/>
                  </a:lnTo>
                  <a:lnTo>
                    <a:pt x="38" y="667"/>
                  </a:lnTo>
                  <a:lnTo>
                    <a:pt x="52" y="616"/>
                  </a:lnTo>
                  <a:lnTo>
                    <a:pt x="70" y="566"/>
                  </a:lnTo>
                  <a:lnTo>
                    <a:pt x="79" y="542"/>
                  </a:lnTo>
                  <a:lnTo>
                    <a:pt x="89" y="517"/>
                  </a:lnTo>
                  <a:lnTo>
                    <a:pt x="111" y="470"/>
                  </a:lnTo>
                  <a:lnTo>
                    <a:pt x="135" y="422"/>
                  </a:lnTo>
                  <a:lnTo>
                    <a:pt x="162" y="376"/>
                  </a:lnTo>
                  <a:lnTo>
                    <a:pt x="191" y="332"/>
                  </a:lnTo>
                  <a:lnTo>
                    <a:pt x="222" y="289"/>
                  </a:lnTo>
                  <a:lnTo>
                    <a:pt x="255" y="246"/>
                  </a:lnTo>
                  <a:lnTo>
                    <a:pt x="291" y="205"/>
                  </a:lnTo>
                  <a:lnTo>
                    <a:pt x="329" y="166"/>
                  </a:lnTo>
                  <a:lnTo>
                    <a:pt x="369" y="130"/>
                  </a:lnTo>
                  <a:lnTo>
                    <a:pt x="411" y="94"/>
                  </a:lnTo>
                  <a:lnTo>
                    <a:pt x="455" y="61"/>
                  </a:lnTo>
                  <a:lnTo>
                    <a:pt x="501" y="29"/>
                  </a:lnTo>
                  <a:lnTo>
                    <a:pt x="550" y="0"/>
                  </a:lnTo>
                  <a:lnTo>
                    <a:pt x="825" y="74"/>
                  </a:lnTo>
                  <a:lnTo>
                    <a:pt x="751" y="349"/>
                  </a:lnTo>
                  <a:lnTo>
                    <a:pt x="720" y="369"/>
                  </a:lnTo>
                  <a:lnTo>
                    <a:pt x="690" y="389"/>
                  </a:lnTo>
                  <a:lnTo>
                    <a:pt x="661" y="411"/>
                  </a:lnTo>
                  <a:lnTo>
                    <a:pt x="634" y="434"/>
                  </a:lnTo>
                  <a:lnTo>
                    <a:pt x="608" y="459"/>
                  </a:lnTo>
                  <a:lnTo>
                    <a:pt x="584" y="484"/>
                  </a:lnTo>
                  <a:lnTo>
                    <a:pt x="540" y="537"/>
                  </a:lnTo>
                  <a:lnTo>
                    <a:pt x="520" y="565"/>
                  </a:lnTo>
                  <a:lnTo>
                    <a:pt x="502" y="594"/>
                  </a:lnTo>
                  <a:lnTo>
                    <a:pt x="485" y="624"/>
                  </a:lnTo>
                  <a:lnTo>
                    <a:pt x="470" y="655"/>
                  </a:lnTo>
                  <a:lnTo>
                    <a:pt x="455" y="686"/>
                  </a:lnTo>
                  <a:lnTo>
                    <a:pt x="443" y="717"/>
                  </a:lnTo>
                  <a:lnTo>
                    <a:pt x="424" y="782"/>
                  </a:lnTo>
                  <a:lnTo>
                    <a:pt x="410" y="848"/>
                  </a:lnTo>
                  <a:lnTo>
                    <a:pt x="403" y="915"/>
                  </a:lnTo>
                  <a:lnTo>
                    <a:pt x="401" y="948"/>
                  </a:lnTo>
                  <a:lnTo>
                    <a:pt x="401" y="982"/>
                  </a:lnTo>
                  <a:lnTo>
                    <a:pt x="403" y="1015"/>
                  </a:lnTo>
                  <a:lnTo>
                    <a:pt x="406" y="1048"/>
                  </a:lnTo>
                  <a:lnTo>
                    <a:pt x="411" y="1082"/>
                  </a:lnTo>
                  <a:lnTo>
                    <a:pt x="418" y="1115"/>
                  </a:lnTo>
                  <a:lnTo>
                    <a:pt x="426" y="1147"/>
                  </a:lnTo>
                  <a:lnTo>
                    <a:pt x="435" y="1179"/>
                  </a:lnTo>
                  <a:lnTo>
                    <a:pt x="448" y="1211"/>
                  </a:lnTo>
                  <a:lnTo>
                    <a:pt x="460" y="1242"/>
                  </a:lnTo>
                  <a:lnTo>
                    <a:pt x="475" y="1273"/>
                  </a:lnTo>
                  <a:lnTo>
                    <a:pt x="491" y="1303"/>
                  </a:lnTo>
                  <a:lnTo>
                    <a:pt x="509" y="1332"/>
                  </a:lnTo>
                  <a:lnTo>
                    <a:pt x="528" y="1359"/>
                  </a:lnTo>
                  <a:lnTo>
                    <a:pt x="570" y="1412"/>
                  </a:lnTo>
                  <a:lnTo>
                    <a:pt x="593" y="1436"/>
                  </a:lnTo>
                  <a:lnTo>
                    <a:pt x="618" y="1459"/>
                  </a:lnTo>
                  <a:lnTo>
                    <a:pt x="643" y="1482"/>
                  </a:lnTo>
                  <a:lnTo>
                    <a:pt x="669" y="1503"/>
                  </a:lnTo>
                  <a:lnTo>
                    <a:pt x="724" y="1540"/>
                  </a:lnTo>
                  <a:lnTo>
                    <a:pt x="753" y="1557"/>
                  </a:lnTo>
                  <a:lnTo>
                    <a:pt x="783" y="1573"/>
                  </a:lnTo>
                  <a:lnTo>
                    <a:pt x="844" y="1600"/>
                  </a:lnTo>
                  <a:lnTo>
                    <a:pt x="876" y="1612"/>
                  </a:lnTo>
                  <a:lnTo>
                    <a:pt x="909" y="1622"/>
                  </a:lnTo>
                  <a:lnTo>
                    <a:pt x="974" y="1636"/>
                  </a:lnTo>
                  <a:lnTo>
                    <a:pt x="1007" y="1642"/>
                  </a:lnTo>
                  <a:lnTo>
                    <a:pt x="1042" y="1645"/>
                  </a:lnTo>
                  <a:lnTo>
                    <a:pt x="1075" y="1647"/>
                  </a:lnTo>
                  <a:lnTo>
                    <a:pt x="1110" y="1647"/>
                  </a:lnTo>
                  <a:lnTo>
                    <a:pt x="1144" y="1646"/>
                  </a:lnTo>
                  <a:lnTo>
                    <a:pt x="1178" y="1643"/>
                  </a:lnTo>
                  <a:lnTo>
                    <a:pt x="1213" y="1638"/>
                  </a:lnTo>
                  <a:lnTo>
                    <a:pt x="1246" y="1632"/>
                  </a:lnTo>
                  <a:lnTo>
                    <a:pt x="1281" y="1624"/>
                  </a:lnTo>
                  <a:lnTo>
                    <a:pt x="1315" y="1614"/>
                  </a:lnTo>
                  <a:lnTo>
                    <a:pt x="1348" y="1602"/>
                  </a:lnTo>
                  <a:lnTo>
                    <a:pt x="1382" y="1587"/>
                  </a:lnTo>
                  <a:lnTo>
                    <a:pt x="1415" y="1572"/>
                  </a:lnTo>
                  <a:lnTo>
                    <a:pt x="1447" y="1554"/>
                  </a:lnTo>
                  <a:close/>
                  <a:moveTo>
                    <a:pt x="565" y="1259"/>
                  </a:moveTo>
                  <a:lnTo>
                    <a:pt x="598" y="1309"/>
                  </a:lnTo>
                  <a:lnTo>
                    <a:pt x="634" y="1356"/>
                  </a:lnTo>
                  <a:lnTo>
                    <a:pt x="676" y="1398"/>
                  </a:lnTo>
                  <a:lnTo>
                    <a:pt x="721" y="1435"/>
                  </a:lnTo>
                  <a:lnTo>
                    <a:pt x="745" y="1453"/>
                  </a:lnTo>
                  <a:lnTo>
                    <a:pt x="770" y="1468"/>
                  </a:lnTo>
                  <a:lnTo>
                    <a:pt x="821" y="1497"/>
                  </a:lnTo>
                  <a:lnTo>
                    <a:pt x="847" y="1509"/>
                  </a:lnTo>
                  <a:lnTo>
                    <a:pt x="875" y="1520"/>
                  </a:lnTo>
                  <a:lnTo>
                    <a:pt x="932" y="1539"/>
                  </a:lnTo>
                  <a:lnTo>
                    <a:pt x="990" y="1553"/>
                  </a:lnTo>
                  <a:lnTo>
                    <a:pt x="1049" y="1560"/>
                  </a:lnTo>
                  <a:lnTo>
                    <a:pt x="1108" y="1563"/>
                  </a:lnTo>
                  <a:lnTo>
                    <a:pt x="1168" y="1558"/>
                  </a:lnTo>
                  <a:lnTo>
                    <a:pt x="1228" y="1548"/>
                  </a:lnTo>
                  <a:lnTo>
                    <a:pt x="1288" y="1533"/>
                  </a:lnTo>
                  <a:lnTo>
                    <a:pt x="1347" y="1509"/>
                  </a:lnTo>
                  <a:lnTo>
                    <a:pt x="1405" y="1480"/>
                  </a:lnTo>
                  <a:lnTo>
                    <a:pt x="1460" y="1445"/>
                  </a:lnTo>
                  <a:lnTo>
                    <a:pt x="1485" y="1426"/>
                  </a:lnTo>
                  <a:lnTo>
                    <a:pt x="1508" y="1405"/>
                  </a:lnTo>
                  <a:lnTo>
                    <a:pt x="1553" y="1362"/>
                  </a:lnTo>
                  <a:lnTo>
                    <a:pt x="1592" y="1314"/>
                  </a:lnTo>
                  <a:lnTo>
                    <a:pt x="1625" y="1264"/>
                  </a:lnTo>
                  <a:lnTo>
                    <a:pt x="1639" y="1237"/>
                  </a:lnTo>
                  <a:lnTo>
                    <a:pt x="1653" y="1211"/>
                  </a:lnTo>
                  <a:lnTo>
                    <a:pt x="1665" y="1184"/>
                  </a:lnTo>
                  <a:lnTo>
                    <a:pt x="1676" y="1156"/>
                  </a:lnTo>
                  <a:lnTo>
                    <a:pt x="1693" y="1099"/>
                  </a:lnTo>
                  <a:lnTo>
                    <a:pt x="1705" y="1042"/>
                  </a:lnTo>
                  <a:lnTo>
                    <a:pt x="1709" y="1013"/>
                  </a:lnTo>
                  <a:lnTo>
                    <a:pt x="1712" y="983"/>
                  </a:lnTo>
                  <a:lnTo>
                    <a:pt x="1713" y="924"/>
                  </a:lnTo>
                  <a:lnTo>
                    <a:pt x="1708" y="866"/>
                  </a:lnTo>
                  <a:lnTo>
                    <a:pt x="1697" y="807"/>
                  </a:lnTo>
                  <a:lnTo>
                    <a:pt x="1682" y="751"/>
                  </a:lnTo>
                  <a:lnTo>
                    <a:pt x="1661" y="696"/>
                  </a:lnTo>
                  <a:lnTo>
                    <a:pt x="1634" y="643"/>
                  </a:lnTo>
                  <a:lnTo>
                    <a:pt x="1602" y="593"/>
                  </a:lnTo>
                  <a:lnTo>
                    <a:pt x="1564" y="547"/>
                  </a:lnTo>
                  <a:lnTo>
                    <a:pt x="1523" y="505"/>
                  </a:lnTo>
                  <a:lnTo>
                    <a:pt x="1501" y="485"/>
                  </a:lnTo>
                  <a:lnTo>
                    <a:pt x="1478" y="467"/>
                  </a:lnTo>
                  <a:lnTo>
                    <a:pt x="1454" y="450"/>
                  </a:lnTo>
                  <a:lnTo>
                    <a:pt x="1430" y="434"/>
                  </a:lnTo>
                  <a:lnTo>
                    <a:pt x="1378" y="405"/>
                  </a:lnTo>
                  <a:lnTo>
                    <a:pt x="1352" y="393"/>
                  </a:lnTo>
                  <a:lnTo>
                    <a:pt x="1324" y="382"/>
                  </a:lnTo>
                  <a:lnTo>
                    <a:pt x="1268" y="363"/>
                  </a:lnTo>
                  <a:lnTo>
                    <a:pt x="1240" y="356"/>
                  </a:lnTo>
                  <a:lnTo>
                    <a:pt x="1211" y="350"/>
                  </a:lnTo>
                  <a:lnTo>
                    <a:pt x="1181" y="345"/>
                  </a:lnTo>
                  <a:lnTo>
                    <a:pt x="1152" y="342"/>
                  </a:lnTo>
                  <a:lnTo>
                    <a:pt x="1092" y="340"/>
                  </a:lnTo>
                  <a:lnTo>
                    <a:pt x="1031" y="344"/>
                  </a:lnTo>
                  <a:lnTo>
                    <a:pt x="971" y="354"/>
                  </a:lnTo>
                  <a:lnTo>
                    <a:pt x="911" y="370"/>
                  </a:lnTo>
                  <a:lnTo>
                    <a:pt x="881" y="381"/>
                  </a:lnTo>
                  <a:lnTo>
                    <a:pt x="852" y="393"/>
                  </a:lnTo>
                  <a:lnTo>
                    <a:pt x="823" y="406"/>
                  </a:lnTo>
                  <a:lnTo>
                    <a:pt x="794" y="423"/>
                  </a:lnTo>
                  <a:lnTo>
                    <a:pt x="766" y="440"/>
                  </a:lnTo>
                  <a:lnTo>
                    <a:pt x="740" y="457"/>
                  </a:lnTo>
                  <a:lnTo>
                    <a:pt x="714" y="476"/>
                  </a:lnTo>
                  <a:lnTo>
                    <a:pt x="691" y="497"/>
                  </a:lnTo>
                  <a:lnTo>
                    <a:pt x="646" y="541"/>
                  </a:lnTo>
                  <a:lnTo>
                    <a:pt x="609" y="589"/>
                  </a:lnTo>
                  <a:lnTo>
                    <a:pt x="574" y="639"/>
                  </a:lnTo>
                  <a:lnTo>
                    <a:pt x="560" y="664"/>
                  </a:lnTo>
                  <a:lnTo>
                    <a:pt x="546" y="692"/>
                  </a:lnTo>
                  <a:lnTo>
                    <a:pt x="534" y="718"/>
                  </a:lnTo>
                  <a:lnTo>
                    <a:pt x="524" y="746"/>
                  </a:lnTo>
                  <a:lnTo>
                    <a:pt x="506" y="803"/>
                  </a:lnTo>
                  <a:lnTo>
                    <a:pt x="494" y="861"/>
                  </a:lnTo>
                  <a:lnTo>
                    <a:pt x="488" y="920"/>
                  </a:lnTo>
                  <a:lnTo>
                    <a:pt x="486" y="978"/>
                  </a:lnTo>
                  <a:lnTo>
                    <a:pt x="491" y="1037"/>
                  </a:lnTo>
                  <a:lnTo>
                    <a:pt x="495" y="1066"/>
                  </a:lnTo>
                  <a:lnTo>
                    <a:pt x="501" y="1095"/>
                  </a:lnTo>
                  <a:lnTo>
                    <a:pt x="516" y="1152"/>
                  </a:lnTo>
                  <a:lnTo>
                    <a:pt x="538" y="1207"/>
                  </a:lnTo>
                  <a:lnTo>
                    <a:pt x="565" y="125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7" name="Freeform 8"/>
            <p:cNvSpPr>
              <a:spLocks/>
            </p:cNvSpPr>
            <p:nvPr userDrawn="1"/>
          </p:nvSpPr>
          <p:spPr bwMode="auto">
            <a:xfrm>
              <a:off x="10176312" y="5785848"/>
              <a:ext cx="730621" cy="426079"/>
            </a:xfrm>
            <a:custGeom>
              <a:avLst/>
              <a:gdLst>
                <a:gd name="T0" fmla="*/ 0 w 5232"/>
                <a:gd name="T1" fmla="*/ 3051 h 3051"/>
                <a:gd name="T2" fmla="*/ 653 w 5232"/>
                <a:gd name="T3" fmla="*/ 3051 h 3051"/>
                <a:gd name="T4" fmla="*/ 1307 w 5232"/>
                <a:gd name="T5" fmla="*/ 3051 h 3051"/>
                <a:gd name="T6" fmla="*/ 1962 w 5232"/>
                <a:gd name="T7" fmla="*/ 3051 h 3051"/>
                <a:gd name="T8" fmla="*/ 2616 w 5232"/>
                <a:gd name="T9" fmla="*/ 3051 h 3051"/>
                <a:gd name="T10" fmla="*/ 3269 w 5232"/>
                <a:gd name="T11" fmla="*/ 3051 h 3051"/>
                <a:gd name="T12" fmla="*/ 3923 w 5232"/>
                <a:gd name="T13" fmla="*/ 3051 h 3051"/>
                <a:gd name="T14" fmla="*/ 4578 w 5232"/>
                <a:gd name="T15" fmla="*/ 3051 h 3051"/>
                <a:gd name="T16" fmla="*/ 5232 w 5232"/>
                <a:gd name="T17" fmla="*/ 3051 h 3051"/>
                <a:gd name="T18" fmla="*/ 5232 w 5232"/>
                <a:gd name="T19" fmla="*/ 2288 h 3051"/>
                <a:gd name="T20" fmla="*/ 5232 w 5232"/>
                <a:gd name="T21" fmla="*/ 1525 h 3051"/>
                <a:gd name="T22" fmla="*/ 5232 w 5232"/>
                <a:gd name="T23" fmla="*/ 762 h 3051"/>
                <a:gd name="T24" fmla="*/ 5232 w 5232"/>
                <a:gd name="T25" fmla="*/ 0 h 3051"/>
                <a:gd name="T26" fmla="*/ 4578 w 5232"/>
                <a:gd name="T27" fmla="*/ 0 h 3051"/>
                <a:gd name="T28" fmla="*/ 3923 w 5232"/>
                <a:gd name="T29" fmla="*/ 0 h 3051"/>
                <a:gd name="T30" fmla="*/ 3269 w 5232"/>
                <a:gd name="T31" fmla="*/ 0 h 3051"/>
                <a:gd name="T32" fmla="*/ 2616 w 5232"/>
                <a:gd name="T33" fmla="*/ 0 h 3051"/>
                <a:gd name="T34" fmla="*/ 1962 w 5232"/>
                <a:gd name="T35" fmla="*/ 0 h 3051"/>
                <a:gd name="T36" fmla="*/ 1307 w 5232"/>
                <a:gd name="T37" fmla="*/ 0 h 3051"/>
                <a:gd name="T38" fmla="*/ 653 w 5232"/>
                <a:gd name="T39" fmla="*/ 0 h 3051"/>
                <a:gd name="T40" fmla="*/ 0 w 5232"/>
                <a:gd name="T41" fmla="*/ 0 h 3051"/>
                <a:gd name="T42" fmla="*/ 0 w 5232"/>
                <a:gd name="T43" fmla="*/ 762 h 3051"/>
                <a:gd name="T44" fmla="*/ 0 w 5232"/>
                <a:gd name="T45" fmla="*/ 1525 h 3051"/>
                <a:gd name="T46" fmla="*/ 0 w 5232"/>
                <a:gd name="T47" fmla="*/ 2288 h 3051"/>
                <a:gd name="T48" fmla="*/ 0 w 5232"/>
                <a:gd name="T49" fmla="*/ 3051 h 30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232" h="3051">
                  <a:moveTo>
                    <a:pt x="0" y="3051"/>
                  </a:moveTo>
                  <a:lnTo>
                    <a:pt x="653" y="3051"/>
                  </a:lnTo>
                  <a:lnTo>
                    <a:pt x="1307" y="3051"/>
                  </a:lnTo>
                  <a:lnTo>
                    <a:pt x="1962" y="3051"/>
                  </a:lnTo>
                  <a:lnTo>
                    <a:pt x="2616" y="3051"/>
                  </a:lnTo>
                  <a:lnTo>
                    <a:pt x="3269" y="3051"/>
                  </a:lnTo>
                  <a:lnTo>
                    <a:pt x="3923" y="3051"/>
                  </a:lnTo>
                  <a:lnTo>
                    <a:pt x="4578" y="3051"/>
                  </a:lnTo>
                  <a:lnTo>
                    <a:pt x="5232" y="3051"/>
                  </a:lnTo>
                  <a:lnTo>
                    <a:pt x="5232" y="2288"/>
                  </a:lnTo>
                  <a:lnTo>
                    <a:pt x="5232" y="1525"/>
                  </a:lnTo>
                  <a:lnTo>
                    <a:pt x="5232" y="762"/>
                  </a:lnTo>
                  <a:lnTo>
                    <a:pt x="5232" y="0"/>
                  </a:lnTo>
                  <a:lnTo>
                    <a:pt x="4578" y="0"/>
                  </a:lnTo>
                  <a:lnTo>
                    <a:pt x="3923" y="0"/>
                  </a:lnTo>
                  <a:lnTo>
                    <a:pt x="3269" y="0"/>
                  </a:lnTo>
                  <a:lnTo>
                    <a:pt x="2616" y="0"/>
                  </a:lnTo>
                  <a:lnTo>
                    <a:pt x="1962" y="0"/>
                  </a:lnTo>
                  <a:lnTo>
                    <a:pt x="1307" y="0"/>
                  </a:lnTo>
                  <a:lnTo>
                    <a:pt x="653" y="0"/>
                  </a:lnTo>
                  <a:lnTo>
                    <a:pt x="0" y="0"/>
                  </a:lnTo>
                  <a:lnTo>
                    <a:pt x="0" y="762"/>
                  </a:lnTo>
                  <a:lnTo>
                    <a:pt x="0" y="1525"/>
                  </a:lnTo>
                  <a:lnTo>
                    <a:pt x="0" y="2288"/>
                  </a:lnTo>
                  <a:lnTo>
                    <a:pt x="0" y="3051"/>
                  </a:lnTo>
                  <a:close/>
                </a:path>
              </a:pathLst>
            </a:custGeom>
            <a:solidFill>
              <a:srgbClr val="377A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8" name="Freeform 9"/>
            <p:cNvSpPr>
              <a:spLocks noEditPoints="1"/>
            </p:cNvSpPr>
            <p:nvPr userDrawn="1"/>
          </p:nvSpPr>
          <p:spPr bwMode="auto">
            <a:xfrm>
              <a:off x="10293658" y="5873858"/>
              <a:ext cx="491737" cy="272412"/>
            </a:xfrm>
            <a:custGeom>
              <a:avLst/>
              <a:gdLst>
                <a:gd name="T0" fmla="*/ 278 w 3517"/>
                <a:gd name="T1" fmla="*/ 1564 h 1954"/>
                <a:gd name="T2" fmla="*/ 190 w 3517"/>
                <a:gd name="T3" fmla="*/ 1377 h 1954"/>
                <a:gd name="T4" fmla="*/ 466 w 3517"/>
                <a:gd name="T5" fmla="*/ 1198 h 1954"/>
                <a:gd name="T6" fmla="*/ 105 w 3517"/>
                <a:gd name="T7" fmla="*/ 1218 h 1954"/>
                <a:gd name="T8" fmla="*/ 22 w 3517"/>
                <a:gd name="T9" fmla="*/ 1558 h 1954"/>
                <a:gd name="T10" fmla="*/ 508 w 3517"/>
                <a:gd name="T11" fmla="*/ 903 h 1954"/>
                <a:gd name="T12" fmla="*/ 824 w 3517"/>
                <a:gd name="T13" fmla="*/ 1318 h 1954"/>
                <a:gd name="T14" fmla="*/ 1034 w 3517"/>
                <a:gd name="T15" fmla="*/ 1269 h 1954"/>
                <a:gd name="T16" fmla="*/ 800 w 3517"/>
                <a:gd name="T17" fmla="*/ 1165 h 1954"/>
                <a:gd name="T18" fmla="*/ 1476 w 3517"/>
                <a:gd name="T19" fmla="*/ 1679 h 1954"/>
                <a:gd name="T20" fmla="*/ 1372 w 3517"/>
                <a:gd name="T21" fmla="*/ 1161 h 1954"/>
                <a:gd name="T22" fmla="*/ 1104 w 3517"/>
                <a:gd name="T23" fmla="*/ 1333 h 1954"/>
                <a:gd name="T24" fmla="*/ 1201 w 3517"/>
                <a:gd name="T25" fmla="*/ 1684 h 1954"/>
                <a:gd name="T26" fmla="*/ 1288 w 3517"/>
                <a:gd name="T27" fmla="*/ 1514 h 1954"/>
                <a:gd name="T28" fmla="*/ 1370 w 3517"/>
                <a:gd name="T29" fmla="*/ 1318 h 1954"/>
                <a:gd name="T30" fmla="*/ 1506 w 3517"/>
                <a:gd name="T31" fmla="*/ 1482 h 1954"/>
                <a:gd name="T32" fmla="*/ 1977 w 3517"/>
                <a:gd name="T33" fmla="*/ 1198 h 1954"/>
                <a:gd name="T34" fmla="*/ 1980 w 3517"/>
                <a:gd name="T35" fmla="*/ 1323 h 1954"/>
                <a:gd name="T36" fmla="*/ 2300 w 3517"/>
                <a:gd name="T37" fmla="*/ 1364 h 1954"/>
                <a:gd name="T38" fmla="*/ 2142 w 3517"/>
                <a:gd name="T39" fmla="*/ 1162 h 1954"/>
                <a:gd name="T40" fmla="*/ 2902 w 3517"/>
                <a:gd name="T41" fmla="*/ 1848 h 1954"/>
                <a:gd name="T42" fmla="*/ 2659 w 3517"/>
                <a:gd name="T43" fmla="*/ 1168 h 1954"/>
                <a:gd name="T44" fmla="*/ 2361 w 3517"/>
                <a:gd name="T45" fmla="*/ 1305 h 1954"/>
                <a:gd name="T46" fmla="*/ 2418 w 3517"/>
                <a:gd name="T47" fmla="*/ 1656 h 1954"/>
                <a:gd name="T48" fmla="*/ 2734 w 3517"/>
                <a:gd name="T49" fmla="*/ 1666 h 1954"/>
                <a:gd name="T50" fmla="*/ 2605 w 3517"/>
                <a:gd name="T51" fmla="*/ 1790 h 1954"/>
                <a:gd name="T52" fmla="*/ 2549 w 3517"/>
                <a:gd name="T53" fmla="*/ 1532 h 1954"/>
                <a:gd name="T54" fmla="*/ 2599 w 3517"/>
                <a:gd name="T55" fmla="*/ 1323 h 1954"/>
                <a:gd name="T56" fmla="*/ 2756 w 3517"/>
                <a:gd name="T57" fmla="*/ 1468 h 1954"/>
                <a:gd name="T58" fmla="*/ 3141 w 3517"/>
                <a:gd name="T59" fmla="*/ 1179 h 1954"/>
                <a:gd name="T60" fmla="*/ 2975 w 3517"/>
                <a:gd name="T61" fmla="*/ 1475 h 1954"/>
                <a:gd name="T62" fmla="*/ 3206 w 3517"/>
                <a:gd name="T63" fmla="*/ 1719 h 1954"/>
                <a:gd name="T64" fmla="*/ 3308 w 3517"/>
                <a:gd name="T65" fmla="*/ 1577 h 1954"/>
                <a:gd name="T66" fmla="*/ 3512 w 3517"/>
                <a:gd name="T67" fmla="*/ 1376 h 1954"/>
                <a:gd name="T68" fmla="*/ 3284 w 3517"/>
                <a:gd name="T69" fmla="*/ 1161 h 1954"/>
                <a:gd name="T70" fmla="*/ 3150 w 3517"/>
                <a:gd name="T71" fmla="*/ 1336 h 1954"/>
                <a:gd name="T72" fmla="*/ 253 w 3517"/>
                <a:gd name="T73" fmla="*/ 744 h 1954"/>
                <a:gd name="T74" fmla="*/ 99 w 3517"/>
                <a:gd name="T75" fmla="*/ 630 h 1954"/>
                <a:gd name="T76" fmla="*/ 854 w 3517"/>
                <a:gd name="T77" fmla="*/ 734 h 1954"/>
                <a:gd name="T78" fmla="*/ 486 w 3517"/>
                <a:gd name="T79" fmla="*/ 790 h 1954"/>
                <a:gd name="T80" fmla="*/ 341 w 3517"/>
                <a:gd name="T81" fmla="*/ 463 h 1954"/>
                <a:gd name="T82" fmla="*/ 630 w 3517"/>
                <a:gd name="T83" fmla="*/ 255 h 1954"/>
                <a:gd name="T84" fmla="*/ 920 w 3517"/>
                <a:gd name="T85" fmla="*/ 463 h 1954"/>
                <a:gd name="T86" fmla="*/ 643 w 3517"/>
                <a:gd name="T87" fmla="*/ 662 h 1954"/>
                <a:gd name="T88" fmla="*/ 733 w 3517"/>
                <a:gd name="T89" fmla="*/ 465 h 1954"/>
                <a:gd name="T90" fmla="*/ 516 w 3517"/>
                <a:gd name="T91" fmla="*/ 488 h 1954"/>
                <a:gd name="T92" fmla="*/ 1555 w 3517"/>
                <a:gd name="T93" fmla="*/ 440 h 1954"/>
                <a:gd name="T94" fmla="*/ 1383 w 3517"/>
                <a:gd name="T95" fmla="*/ 484 h 1954"/>
                <a:gd name="T96" fmla="*/ 1550 w 3517"/>
                <a:gd name="T97" fmla="*/ 255 h 1954"/>
                <a:gd name="T98" fmla="*/ 1745 w 3517"/>
                <a:gd name="T99" fmla="*/ 422 h 1954"/>
                <a:gd name="T100" fmla="*/ 2184 w 3517"/>
                <a:gd name="T101" fmla="*/ 799 h 1954"/>
                <a:gd name="T102" fmla="*/ 2062 w 3517"/>
                <a:gd name="T103" fmla="*/ 60 h 1954"/>
                <a:gd name="T104" fmla="*/ 2760 w 3517"/>
                <a:gd name="T105" fmla="*/ 258 h 1954"/>
                <a:gd name="T106" fmla="*/ 2927 w 3517"/>
                <a:gd name="T107" fmla="*/ 448 h 1954"/>
                <a:gd name="T108" fmla="*/ 2627 w 3517"/>
                <a:gd name="T109" fmla="*/ 412 h 1954"/>
                <a:gd name="T110" fmla="*/ 3128 w 3517"/>
                <a:gd name="T111" fmla="*/ 592 h 1954"/>
                <a:gd name="T112" fmla="*/ 3386 w 3517"/>
                <a:gd name="T113" fmla="*/ 645 h 1954"/>
                <a:gd name="T114" fmla="*/ 3124 w 3517"/>
                <a:gd name="T115" fmla="*/ 796 h 1954"/>
                <a:gd name="T116" fmla="*/ 2965 w 3517"/>
                <a:gd name="T117" fmla="*/ 492 h 1954"/>
                <a:gd name="T118" fmla="*/ 3213 w 3517"/>
                <a:gd name="T119" fmla="*/ 258 h 1954"/>
                <a:gd name="T120" fmla="*/ 3483 w 3517"/>
                <a:gd name="T121" fmla="*/ 402 h 1954"/>
                <a:gd name="T122" fmla="*/ 3257 w 3517"/>
                <a:gd name="T123" fmla="*/ 382 h 19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517" h="1954">
                  <a:moveTo>
                    <a:pt x="296" y="1724"/>
                  </a:moveTo>
                  <a:lnTo>
                    <a:pt x="309" y="1724"/>
                  </a:lnTo>
                  <a:lnTo>
                    <a:pt x="322" y="1724"/>
                  </a:lnTo>
                  <a:lnTo>
                    <a:pt x="336" y="1723"/>
                  </a:lnTo>
                  <a:lnTo>
                    <a:pt x="349" y="1720"/>
                  </a:lnTo>
                  <a:lnTo>
                    <a:pt x="361" y="1719"/>
                  </a:lnTo>
                  <a:lnTo>
                    <a:pt x="373" y="1717"/>
                  </a:lnTo>
                  <a:lnTo>
                    <a:pt x="398" y="1710"/>
                  </a:lnTo>
                  <a:lnTo>
                    <a:pt x="421" y="1704"/>
                  </a:lnTo>
                  <a:lnTo>
                    <a:pt x="432" y="1699"/>
                  </a:lnTo>
                  <a:lnTo>
                    <a:pt x="443" y="1695"/>
                  </a:lnTo>
                  <a:lnTo>
                    <a:pt x="466" y="1684"/>
                  </a:lnTo>
                  <a:lnTo>
                    <a:pt x="487" y="1673"/>
                  </a:lnTo>
                  <a:lnTo>
                    <a:pt x="416" y="1534"/>
                  </a:lnTo>
                  <a:lnTo>
                    <a:pt x="403" y="1540"/>
                  </a:lnTo>
                  <a:lnTo>
                    <a:pt x="391" y="1547"/>
                  </a:lnTo>
                  <a:lnTo>
                    <a:pt x="379" y="1553"/>
                  </a:lnTo>
                  <a:lnTo>
                    <a:pt x="372" y="1555"/>
                  </a:lnTo>
                  <a:lnTo>
                    <a:pt x="366" y="1557"/>
                  </a:lnTo>
                  <a:lnTo>
                    <a:pt x="351" y="1560"/>
                  </a:lnTo>
                  <a:lnTo>
                    <a:pt x="343" y="1563"/>
                  </a:lnTo>
                  <a:lnTo>
                    <a:pt x="336" y="1564"/>
                  </a:lnTo>
                  <a:lnTo>
                    <a:pt x="328" y="1565"/>
                  </a:lnTo>
                  <a:lnTo>
                    <a:pt x="320" y="1565"/>
                  </a:lnTo>
                  <a:lnTo>
                    <a:pt x="303" y="1566"/>
                  </a:lnTo>
                  <a:lnTo>
                    <a:pt x="290" y="1565"/>
                  </a:lnTo>
                  <a:lnTo>
                    <a:pt x="278" y="1564"/>
                  </a:lnTo>
                  <a:lnTo>
                    <a:pt x="266" y="1560"/>
                  </a:lnTo>
                  <a:lnTo>
                    <a:pt x="253" y="1557"/>
                  </a:lnTo>
                  <a:lnTo>
                    <a:pt x="242" y="1553"/>
                  </a:lnTo>
                  <a:lnTo>
                    <a:pt x="232" y="1547"/>
                  </a:lnTo>
                  <a:lnTo>
                    <a:pt x="222" y="1540"/>
                  </a:lnTo>
                  <a:lnTo>
                    <a:pt x="217" y="1537"/>
                  </a:lnTo>
                  <a:lnTo>
                    <a:pt x="212" y="1534"/>
                  </a:lnTo>
                  <a:lnTo>
                    <a:pt x="203" y="1525"/>
                  </a:lnTo>
                  <a:lnTo>
                    <a:pt x="197" y="1516"/>
                  </a:lnTo>
                  <a:lnTo>
                    <a:pt x="192" y="1510"/>
                  </a:lnTo>
                  <a:lnTo>
                    <a:pt x="190" y="1505"/>
                  </a:lnTo>
                  <a:lnTo>
                    <a:pt x="183" y="1495"/>
                  </a:lnTo>
                  <a:lnTo>
                    <a:pt x="181" y="1488"/>
                  </a:lnTo>
                  <a:lnTo>
                    <a:pt x="179" y="1483"/>
                  </a:lnTo>
                  <a:lnTo>
                    <a:pt x="178" y="1476"/>
                  </a:lnTo>
                  <a:lnTo>
                    <a:pt x="176" y="1469"/>
                  </a:lnTo>
                  <a:lnTo>
                    <a:pt x="175" y="1463"/>
                  </a:lnTo>
                  <a:lnTo>
                    <a:pt x="175" y="1456"/>
                  </a:lnTo>
                  <a:lnTo>
                    <a:pt x="173" y="1449"/>
                  </a:lnTo>
                  <a:lnTo>
                    <a:pt x="173" y="1442"/>
                  </a:lnTo>
                  <a:lnTo>
                    <a:pt x="173" y="1434"/>
                  </a:lnTo>
                  <a:lnTo>
                    <a:pt x="175" y="1427"/>
                  </a:lnTo>
                  <a:lnTo>
                    <a:pt x="176" y="1414"/>
                  </a:lnTo>
                  <a:lnTo>
                    <a:pt x="178" y="1407"/>
                  </a:lnTo>
                  <a:lnTo>
                    <a:pt x="179" y="1401"/>
                  </a:lnTo>
                  <a:lnTo>
                    <a:pt x="183" y="1388"/>
                  </a:lnTo>
                  <a:lnTo>
                    <a:pt x="190" y="1377"/>
                  </a:lnTo>
                  <a:lnTo>
                    <a:pt x="192" y="1373"/>
                  </a:lnTo>
                  <a:lnTo>
                    <a:pt x="197" y="1367"/>
                  </a:lnTo>
                  <a:lnTo>
                    <a:pt x="200" y="1363"/>
                  </a:lnTo>
                  <a:lnTo>
                    <a:pt x="203" y="1358"/>
                  </a:lnTo>
                  <a:lnTo>
                    <a:pt x="208" y="1354"/>
                  </a:lnTo>
                  <a:lnTo>
                    <a:pt x="212" y="1349"/>
                  </a:lnTo>
                  <a:lnTo>
                    <a:pt x="222" y="1343"/>
                  </a:lnTo>
                  <a:lnTo>
                    <a:pt x="232" y="1336"/>
                  </a:lnTo>
                  <a:lnTo>
                    <a:pt x="242" y="1331"/>
                  </a:lnTo>
                  <a:lnTo>
                    <a:pt x="248" y="1328"/>
                  </a:lnTo>
                  <a:lnTo>
                    <a:pt x="253" y="1326"/>
                  </a:lnTo>
                  <a:lnTo>
                    <a:pt x="266" y="1322"/>
                  </a:lnTo>
                  <a:lnTo>
                    <a:pt x="271" y="1321"/>
                  </a:lnTo>
                  <a:lnTo>
                    <a:pt x="278" y="1319"/>
                  </a:lnTo>
                  <a:lnTo>
                    <a:pt x="290" y="1318"/>
                  </a:lnTo>
                  <a:lnTo>
                    <a:pt x="303" y="1317"/>
                  </a:lnTo>
                  <a:lnTo>
                    <a:pt x="320" y="1318"/>
                  </a:lnTo>
                  <a:lnTo>
                    <a:pt x="328" y="1318"/>
                  </a:lnTo>
                  <a:lnTo>
                    <a:pt x="336" y="1319"/>
                  </a:lnTo>
                  <a:lnTo>
                    <a:pt x="351" y="1322"/>
                  </a:lnTo>
                  <a:lnTo>
                    <a:pt x="366" y="1326"/>
                  </a:lnTo>
                  <a:lnTo>
                    <a:pt x="379" y="1331"/>
                  </a:lnTo>
                  <a:lnTo>
                    <a:pt x="391" y="1336"/>
                  </a:lnTo>
                  <a:lnTo>
                    <a:pt x="403" y="1343"/>
                  </a:lnTo>
                  <a:lnTo>
                    <a:pt x="416" y="1349"/>
                  </a:lnTo>
                  <a:lnTo>
                    <a:pt x="487" y="1211"/>
                  </a:lnTo>
                  <a:lnTo>
                    <a:pt x="466" y="1198"/>
                  </a:lnTo>
                  <a:lnTo>
                    <a:pt x="443" y="1188"/>
                  </a:lnTo>
                  <a:lnTo>
                    <a:pt x="432" y="1184"/>
                  </a:lnTo>
                  <a:lnTo>
                    <a:pt x="421" y="1179"/>
                  </a:lnTo>
                  <a:lnTo>
                    <a:pt x="409" y="1176"/>
                  </a:lnTo>
                  <a:lnTo>
                    <a:pt x="398" y="1172"/>
                  </a:lnTo>
                  <a:lnTo>
                    <a:pt x="386" y="1169"/>
                  </a:lnTo>
                  <a:lnTo>
                    <a:pt x="373" y="1166"/>
                  </a:lnTo>
                  <a:lnTo>
                    <a:pt x="361" y="1164"/>
                  </a:lnTo>
                  <a:lnTo>
                    <a:pt x="349" y="1163"/>
                  </a:lnTo>
                  <a:lnTo>
                    <a:pt x="336" y="1161"/>
                  </a:lnTo>
                  <a:lnTo>
                    <a:pt x="322" y="1160"/>
                  </a:lnTo>
                  <a:lnTo>
                    <a:pt x="296" y="1158"/>
                  </a:lnTo>
                  <a:lnTo>
                    <a:pt x="279" y="1160"/>
                  </a:lnTo>
                  <a:lnTo>
                    <a:pt x="263" y="1161"/>
                  </a:lnTo>
                  <a:lnTo>
                    <a:pt x="249" y="1162"/>
                  </a:lnTo>
                  <a:lnTo>
                    <a:pt x="233" y="1164"/>
                  </a:lnTo>
                  <a:lnTo>
                    <a:pt x="219" y="1167"/>
                  </a:lnTo>
                  <a:lnTo>
                    <a:pt x="205" y="1171"/>
                  </a:lnTo>
                  <a:lnTo>
                    <a:pt x="198" y="1172"/>
                  </a:lnTo>
                  <a:lnTo>
                    <a:pt x="191" y="1174"/>
                  </a:lnTo>
                  <a:lnTo>
                    <a:pt x="177" y="1179"/>
                  </a:lnTo>
                  <a:lnTo>
                    <a:pt x="165" y="1184"/>
                  </a:lnTo>
                  <a:lnTo>
                    <a:pt x="151" y="1189"/>
                  </a:lnTo>
                  <a:lnTo>
                    <a:pt x="139" y="1196"/>
                  </a:lnTo>
                  <a:lnTo>
                    <a:pt x="127" y="1203"/>
                  </a:lnTo>
                  <a:lnTo>
                    <a:pt x="116" y="1211"/>
                  </a:lnTo>
                  <a:lnTo>
                    <a:pt x="105" y="1218"/>
                  </a:lnTo>
                  <a:lnTo>
                    <a:pt x="94" y="1227"/>
                  </a:lnTo>
                  <a:lnTo>
                    <a:pt x="84" y="1236"/>
                  </a:lnTo>
                  <a:lnTo>
                    <a:pt x="75" y="1245"/>
                  </a:lnTo>
                  <a:lnTo>
                    <a:pt x="65" y="1255"/>
                  </a:lnTo>
                  <a:lnTo>
                    <a:pt x="57" y="1266"/>
                  </a:lnTo>
                  <a:lnTo>
                    <a:pt x="48" y="1277"/>
                  </a:lnTo>
                  <a:lnTo>
                    <a:pt x="41" y="1288"/>
                  </a:lnTo>
                  <a:lnTo>
                    <a:pt x="35" y="1301"/>
                  </a:lnTo>
                  <a:lnTo>
                    <a:pt x="28" y="1313"/>
                  </a:lnTo>
                  <a:lnTo>
                    <a:pt x="22" y="1325"/>
                  </a:lnTo>
                  <a:lnTo>
                    <a:pt x="17" y="1338"/>
                  </a:lnTo>
                  <a:lnTo>
                    <a:pt x="12" y="1352"/>
                  </a:lnTo>
                  <a:lnTo>
                    <a:pt x="9" y="1366"/>
                  </a:lnTo>
                  <a:lnTo>
                    <a:pt x="6" y="1381"/>
                  </a:lnTo>
                  <a:lnTo>
                    <a:pt x="4" y="1395"/>
                  </a:lnTo>
                  <a:lnTo>
                    <a:pt x="2" y="1403"/>
                  </a:lnTo>
                  <a:lnTo>
                    <a:pt x="1" y="1411"/>
                  </a:lnTo>
                  <a:lnTo>
                    <a:pt x="0" y="1426"/>
                  </a:lnTo>
                  <a:lnTo>
                    <a:pt x="0" y="1442"/>
                  </a:lnTo>
                  <a:lnTo>
                    <a:pt x="0" y="1457"/>
                  </a:lnTo>
                  <a:lnTo>
                    <a:pt x="1" y="1473"/>
                  </a:lnTo>
                  <a:lnTo>
                    <a:pt x="4" y="1488"/>
                  </a:lnTo>
                  <a:lnTo>
                    <a:pt x="6" y="1503"/>
                  </a:lnTo>
                  <a:lnTo>
                    <a:pt x="9" y="1517"/>
                  </a:lnTo>
                  <a:lnTo>
                    <a:pt x="12" y="1532"/>
                  </a:lnTo>
                  <a:lnTo>
                    <a:pt x="17" y="1545"/>
                  </a:lnTo>
                  <a:lnTo>
                    <a:pt x="22" y="1558"/>
                  </a:lnTo>
                  <a:lnTo>
                    <a:pt x="25" y="1565"/>
                  </a:lnTo>
                  <a:lnTo>
                    <a:pt x="28" y="1570"/>
                  </a:lnTo>
                  <a:lnTo>
                    <a:pt x="35" y="1583"/>
                  </a:lnTo>
                  <a:lnTo>
                    <a:pt x="41" y="1595"/>
                  </a:lnTo>
                  <a:lnTo>
                    <a:pt x="48" y="1606"/>
                  </a:lnTo>
                  <a:lnTo>
                    <a:pt x="57" y="1617"/>
                  </a:lnTo>
                  <a:lnTo>
                    <a:pt x="65" y="1627"/>
                  </a:lnTo>
                  <a:lnTo>
                    <a:pt x="75" y="1637"/>
                  </a:lnTo>
                  <a:lnTo>
                    <a:pt x="84" y="1647"/>
                  </a:lnTo>
                  <a:lnTo>
                    <a:pt x="94" y="1656"/>
                  </a:lnTo>
                  <a:lnTo>
                    <a:pt x="105" y="1665"/>
                  </a:lnTo>
                  <a:lnTo>
                    <a:pt x="116" y="1673"/>
                  </a:lnTo>
                  <a:lnTo>
                    <a:pt x="127" y="1680"/>
                  </a:lnTo>
                  <a:lnTo>
                    <a:pt x="139" y="1687"/>
                  </a:lnTo>
                  <a:lnTo>
                    <a:pt x="151" y="1693"/>
                  </a:lnTo>
                  <a:lnTo>
                    <a:pt x="165" y="1699"/>
                  </a:lnTo>
                  <a:lnTo>
                    <a:pt x="177" y="1704"/>
                  </a:lnTo>
                  <a:lnTo>
                    <a:pt x="191" y="1708"/>
                  </a:lnTo>
                  <a:lnTo>
                    <a:pt x="205" y="1713"/>
                  </a:lnTo>
                  <a:lnTo>
                    <a:pt x="219" y="1716"/>
                  </a:lnTo>
                  <a:lnTo>
                    <a:pt x="233" y="1719"/>
                  </a:lnTo>
                  <a:lnTo>
                    <a:pt x="249" y="1722"/>
                  </a:lnTo>
                  <a:lnTo>
                    <a:pt x="263" y="1723"/>
                  </a:lnTo>
                  <a:lnTo>
                    <a:pt x="279" y="1724"/>
                  </a:lnTo>
                  <a:lnTo>
                    <a:pt x="296" y="1724"/>
                  </a:lnTo>
                  <a:close/>
                  <a:moveTo>
                    <a:pt x="681" y="903"/>
                  </a:moveTo>
                  <a:lnTo>
                    <a:pt x="508" y="903"/>
                  </a:lnTo>
                  <a:lnTo>
                    <a:pt x="508" y="1707"/>
                  </a:lnTo>
                  <a:lnTo>
                    <a:pt x="681" y="1707"/>
                  </a:lnTo>
                  <a:lnTo>
                    <a:pt x="681" y="1441"/>
                  </a:lnTo>
                  <a:lnTo>
                    <a:pt x="681" y="1424"/>
                  </a:lnTo>
                  <a:lnTo>
                    <a:pt x="683" y="1408"/>
                  </a:lnTo>
                  <a:lnTo>
                    <a:pt x="684" y="1401"/>
                  </a:lnTo>
                  <a:lnTo>
                    <a:pt x="686" y="1394"/>
                  </a:lnTo>
                  <a:lnTo>
                    <a:pt x="687" y="1387"/>
                  </a:lnTo>
                  <a:lnTo>
                    <a:pt x="689" y="1381"/>
                  </a:lnTo>
                  <a:lnTo>
                    <a:pt x="693" y="1368"/>
                  </a:lnTo>
                  <a:lnTo>
                    <a:pt x="698" y="1358"/>
                  </a:lnTo>
                  <a:lnTo>
                    <a:pt x="701" y="1354"/>
                  </a:lnTo>
                  <a:lnTo>
                    <a:pt x="703" y="1349"/>
                  </a:lnTo>
                  <a:lnTo>
                    <a:pt x="707" y="1345"/>
                  </a:lnTo>
                  <a:lnTo>
                    <a:pt x="710" y="1341"/>
                  </a:lnTo>
                  <a:lnTo>
                    <a:pt x="718" y="1334"/>
                  </a:lnTo>
                  <a:lnTo>
                    <a:pt x="726" y="1327"/>
                  </a:lnTo>
                  <a:lnTo>
                    <a:pt x="733" y="1323"/>
                  </a:lnTo>
                  <a:lnTo>
                    <a:pt x="742" y="1318"/>
                  </a:lnTo>
                  <a:lnTo>
                    <a:pt x="752" y="1315"/>
                  </a:lnTo>
                  <a:lnTo>
                    <a:pt x="762" y="1314"/>
                  </a:lnTo>
                  <a:lnTo>
                    <a:pt x="772" y="1312"/>
                  </a:lnTo>
                  <a:lnTo>
                    <a:pt x="783" y="1312"/>
                  </a:lnTo>
                  <a:lnTo>
                    <a:pt x="794" y="1312"/>
                  </a:lnTo>
                  <a:lnTo>
                    <a:pt x="806" y="1314"/>
                  </a:lnTo>
                  <a:lnTo>
                    <a:pt x="816" y="1315"/>
                  </a:lnTo>
                  <a:lnTo>
                    <a:pt x="824" y="1318"/>
                  </a:lnTo>
                  <a:lnTo>
                    <a:pt x="833" y="1323"/>
                  </a:lnTo>
                  <a:lnTo>
                    <a:pt x="841" y="1327"/>
                  </a:lnTo>
                  <a:lnTo>
                    <a:pt x="849" y="1333"/>
                  </a:lnTo>
                  <a:lnTo>
                    <a:pt x="852" y="1336"/>
                  </a:lnTo>
                  <a:lnTo>
                    <a:pt x="856" y="1339"/>
                  </a:lnTo>
                  <a:lnTo>
                    <a:pt x="861" y="1347"/>
                  </a:lnTo>
                  <a:lnTo>
                    <a:pt x="865" y="1355"/>
                  </a:lnTo>
                  <a:lnTo>
                    <a:pt x="868" y="1361"/>
                  </a:lnTo>
                  <a:lnTo>
                    <a:pt x="870" y="1365"/>
                  </a:lnTo>
                  <a:lnTo>
                    <a:pt x="872" y="1369"/>
                  </a:lnTo>
                  <a:lnTo>
                    <a:pt x="873" y="1375"/>
                  </a:lnTo>
                  <a:lnTo>
                    <a:pt x="877" y="1386"/>
                  </a:lnTo>
                  <a:lnTo>
                    <a:pt x="878" y="1399"/>
                  </a:lnTo>
                  <a:lnTo>
                    <a:pt x="879" y="1413"/>
                  </a:lnTo>
                  <a:lnTo>
                    <a:pt x="880" y="1426"/>
                  </a:lnTo>
                  <a:lnTo>
                    <a:pt x="880" y="1707"/>
                  </a:lnTo>
                  <a:lnTo>
                    <a:pt x="1053" y="1707"/>
                  </a:lnTo>
                  <a:lnTo>
                    <a:pt x="1053" y="1378"/>
                  </a:lnTo>
                  <a:lnTo>
                    <a:pt x="1053" y="1364"/>
                  </a:lnTo>
                  <a:lnTo>
                    <a:pt x="1052" y="1351"/>
                  </a:lnTo>
                  <a:lnTo>
                    <a:pt x="1051" y="1338"/>
                  </a:lnTo>
                  <a:lnTo>
                    <a:pt x="1050" y="1325"/>
                  </a:lnTo>
                  <a:lnTo>
                    <a:pt x="1048" y="1314"/>
                  </a:lnTo>
                  <a:lnTo>
                    <a:pt x="1044" y="1302"/>
                  </a:lnTo>
                  <a:lnTo>
                    <a:pt x="1042" y="1291"/>
                  </a:lnTo>
                  <a:lnTo>
                    <a:pt x="1039" y="1281"/>
                  </a:lnTo>
                  <a:lnTo>
                    <a:pt x="1034" y="1269"/>
                  </a:lnTo>
                  <a:lnTo>
                    <a:pt x="1031" y="1261"/>
                  </a:lnTo>
                  <a:lnTo>
                    <a:pt x="1025" y="1251"/>
                  </a:lnTo>
                  <a:lnTo>
                    <a:pt x="1021" y="1243"/>
                  </a:lnTo>
                  <a:lnTo>
                    <a:pt x="1015" y="1234"/>
                  </a:lnTo>
                  <a:lnTo>
                    <a:pt x="1010" y="1226"/>
                  </a:lnTo>
                  <a:lnTo>
                    <a:pt x="1003" y="1218"/>
                  </a:lnTo>
                  <a:lnTo>
                    <a:pt x="998" y="1212"/>
                  </a:lnTo>
                  <a:lnTo>
                    <a:pt x="990" y="1205"/>
                  </a:lnTo>
                  <a:lnTo>
                    <a:pt x="983" y="1199"/>
                  </a:lnTo>
                  <a:lnTo>
                    <a:pt x="975" y="1194"/>
                  </a:lnTo>
                  <a:lnTo>
                    <a:pt x="968" y="1188"/>
                  </a:lnTo>
                  <a:lnTo>
                    <a:pt x="960" y="1184"/>
                  </a:lnTo>
                  <a:lnTo>
                    <a:pt x="952" y="1179"/>
                  </a:lnTo>
                  <a:lnTo>
                    <a:pt x="943" y="1175"/>
                  </a:lnTo>
                  <a:lnTo>
                    <a:pt x="934" y="1172"/>
                  </a:lnTo>
                  <a:lnTo>
                    <a:pt x="924" y="1168"/>
                  </a:lnTo>
                  <a:lnTo>
                    <a:pt x="915" y="1166"/>
                  </a:lnTo>
                  <a:lnTo>
                    <a:pt x="905" y="1164"/>
                  </a:lnTo>
                  <a:lnTo>
                    <a:pt x="895" y="1162"/>
                  </a:lnTo>
                  <a:lnTo>
                    <a:pt x="885" y="1161"/>
                  </a:lnTo>
                  <a:lnTo>
                    <a:pt x="874" y="1160"/>
                  </a:lnTo>
                  <a:lnTo>
                    <a:pt x="864" y="1160"/>
                  </a:lnTo>
                  <a:lnTo>
                    <a:pt x="853" y="1158"/>
                  </a:lnTo>
                  <a:lnTo>
                    <a:pt x="839" y="1160"/>
                  </a:lnTo>
                  <a:lnTo>
                    <a:pt x="826" y="1161"/>
                  </a:lnTo>
                  <a:lnTo>
                    <a:pt x="812" y="1162"/>
                  </a:lnTo>
                  <a:lnTo>
                    <a:pt x="800" y="1165"/>
                  </a:lnTo>
                  <a:lnTo>
                    <a:pt x="788" y="1167"/>
                  </a:lnTo>
                  <a:lnTo>
                    <a:pt x="776" y="1172"/>
                  </a:lnTo>
                  <a:lnTo>
                    <a:pt x="764" y="1176"/>
                  </a:lnTo>
                  <a:lnTo>
                    <a:pt x="753" y="1182"/>
                  </a:lnTo>
                  <a:lnTo>
                    <a:pt x="743" y="1187"/>
                  </a:lnTo>
                  <a:lnTo>
                    <a:pt x="733" y="1194"/>
                  </a:lnTo>
                  <a:lnTo>
                    <a:pt x="723" y="1201"/>
                  </a:lnTo>
                  <a:lnTo>
                    <a:pt x="714" y="1208"/>
                  </a:lnTo>
                  <a:lnTo>
                    <a:pt x="706" y="1217"/>
                  </a:lnTo>
                  <a:lnTo>
                    <a:pt x="702" y="1222"/>
                  </a:lnTo>
                  <a:lnTo>
                    <a:pt x="698" y="1226"/>
                  </a:lnTo>
                  <a:lnTo>
                    <a:pt x="690" y="1236"/>
                  </a:lnTo>
                  <a:lnTo>
                    <a:pt x="683" y="1246"/>
                  </a:lnTo>
                  <a:lnTo>
                    <a:pt x="681" y="1246"/>
                  </a:lnTo>
                  <a:lnTo>
                    <a:pt x="681" y="903"/>
                  </a:lnTo>
                  <a:close/>
                  <a:moveTo>
                    <a:pt x="1341" y="1724"/>
                  </a:moveTo>
                  <a:lnTo>
                    <a:pt x="1356" y="1724"/>
                  </a:lnTo>
                  <a:lnTo>
                    <a:pt x="1372" y="1723"/>
                  </a:lnTo>
                  <a:lnTo>
                    <a:pt x="1386" y="1720"/>
                  </a:lnTo>
                  <a:lnTo>
                    <a:pt x="1400" y="1718"/>
                  </a:lnTo>
                  <a:lnTo>
                    <a:pt x="1412" y="1714"/>
                  </a:lnTo>
                  <a:lnTo>
                    <a:pt x="1424" y="1710"/>
                  </a:lnTo>
                  <a:lnTo>
                    <a:pt x="1436" y="1705"/>
                  </a:lnTo>
                  <a:lnTo>
                    <a:pt x="1448" y="1699"/>
                  </a:lnTo>
                  <a:lnTo>
                    <a:pt x="1458" y="1694"/>
                  </a:lnTo>
                  <a:lnTo>
                    <a:pt x="1468" y="1687"/>
                  </a:lnTo>
                  <a:lnTo>
                    <a:pt x="1476" y="1679"/>
                  </a:lnTo>
                  <a:lnTo>
                    <a:pt x="1485" y="1672"/>
                  </a:lnTo>
                  <a:lnTo>
                    <a:pt x="1493" y="1663"/>
                  </a:lnTo>
                  <a:lnTo>
                    <a:pt x="1501" y="1654"/>
                  </a:lnTo>
                  <a:lnTo>
                    <a:pt x="1508" y="1645"/>
                  </a:lnTo>
                  <a:lnTo>
                    <a:pt x="1514" y="1635"/>
                  </a:lnTo>
                  <a:lnTo>
                    <a:pt x="1516" y="1635"/>
                  </a:lnTo>
                  <a:lnTo>
                    <a:pt x="1516" y="1707"/>
                  </a:lnTo>
                  <a:lnTo>
                    <a:pt x="1690" y="1707"/>
                  </a:lnTo>
                  <a:lnTo>
                    <a:pt x="1690" y="1176"/>
                  </a:lnTo>
                  <a:lnTo>
                    <a:pt x="1516" y="1176"/>
                  </a:lnTo>
                  <a:lnTo>
                    <a:pt x="1516" y="1248"/>
                  </a:lnTo>
                  <a:lnTo>
                    <a:pt x="1514" y="1248"/>
                  </a:lnTo>
                  <a:lnTo>
                    <a:pt x="1508" y="1238"/>
                  </a:lnTo>
                  <a:lnTo>
                    <a:pt x="1501" y="1229"/>
                  </a:lnTo>
                  <a:lnTo>
                    <a:pt x="1493" y="1221"/>
                  </a:lnTo>
                  <a:lnTo>
                    <a:pt x="1485" y="1212"/>
                  </a:lnTo>
                  <a:lnTo>
                    <a:pt x="1476" y="1204"/>
                  </a:lnTo>
                  <a:lnTo>
                    <a:pt x="1468" y="1196"/>
                  </a:lnTo>
                  <a:lnTo>
                    <a:pt x="1463" y="1193"/>
                  </a:lnTo>
                  <a:lnTo>
                    <a:pt x="1458" y="1189"/>
                  </a:lnTo>
                  <a:lnTo>
                    <a:pt x="1448" y="1184"/>
                  </a:lnTo>
                  <a:lnTo>
                    <a:pt x="1436" y="1178"/>
                  </a:lnTo>
                  <a:lnTo>
                    <a:pt x="1424" y="1173"/>
                  </a:lnTo>
                  <a:lnTo>
                    <a:pt x="1412" y="1168"/>
                  </a:lnTo>
                  <a:lnTo>
                    <a:pt x="1400" y="1165"/>
                  </a:lnTo>
                  <a:lnTo>
                    <a:pt x="1386" y="1163"/>
                  </a:lnTo>
                  <a:lnTo>
                    <a:pt x="1372" y="1161"/>
                  </a:lnTo>
                  <a:lnTo>
                    <a:pt x="1356" y="1160"/>
                  </a:lnTo>
                  <a:lnTo>
                    <a:pt x="1341" y="1158"/>
                  </a:lnTo>
                  <a:lnTo>
                    <a:pt x="1328" y="1160"/>
                  </a:lnTo>
                  <a:lnTo>
                    <a:pt x="1315" y="1160"/>
                  </a:lnTo>
                  <a:lnTo>
                    <a:pt x="1303" y="1162"/>
                  </a:lnTo>
                  <a:lnTo>
                    <a:pt x="1291" y="1164"/>
                  </a:lnTo>
                  <a:lnTo>
                    <a:pt x="1279" y="1166"/>
                  </a:lnTo>
                  <a:lnTo>
                    <a:pt x="1266" y="1169"/>
                  </a:lnTo>
                  <a:lnTo>
                    <a:pt x="1254" y="1173"/>
                  </a:lnTo>
                  <a:lnTo>
                    <a:pt x="1243" y="1177"/>
                  </a:lnTo>
                  <a:lnTo>
                    <a:pt x="1232" y="1182"/>
                  </a:lnTo>
                  <a:lnTo>
                    <a:pt x="1221" y="1187"/>
                  </a:lnTo>
                  <a:lnTo>
                    <a:pt x="1211" y="1193"/>
                  </a:lnTo>
                  <a:lnTo>
                    <a:pt x="1201" y="1199"/>
                  </a:lnTo>
                  <a:lnTo>
                    <a:pt x="1191" y="1206"/>
                  </a:lnTo>
                  <a:lnTo>
                    <a:pt x="1181" y="1214"/>
                  </a:lnTo>
                  <a:lnTo>
                    <a:pt x="1172" y="1222"/>
                  </a:lnTo>
                  <a:lnTo>
                    <a:pt x="1163" y="1231"/>
                  </a:lnTo>
                  <a:lnTo>
                    <a:pt x="1155" y="1239"/>
                  </a:lnTo>
                  <a:lnTo>
                    <a:pt x="1147" y="1249"/>
                  </a:lnTo>
                  <a:lnTo>
                    <a:pt x="1140" y="1259"/>
                  </a:lnTo>
                  <a:lnTo>
                    <a:pt x="1132" y="1271"/>
                  </a:lnTo>
                  <a:lnTo>
                    <a:pt x="1125" y="1282"/>
                  </a:lnTo>
                  <a:lnTo>
                    <a:pt x="1120" y="1294"/>
                  </a:lnTo>
                  <a:lnTo>
                    <a:pt x="1114" y="1306"/>
                  </a:lnTo>
                  <a:lnTo>
                    <a:pt x="1109" y="1318"/>
                  </a:lnTo>
                  <a:lnTo>
                    <a:pt x="1104" y="1333"/>
                  </a:lnTo>
                  <a:lnTo>
                    <a:pt x="1101" y="1346"/>
                  </a:lnTo>
                  <a:lnTo>
                    <a:pt x="1098" y="1361"/>
                  </a:lnTo>
                  <a:lnTo>
                    <a:pt x="1094" y="1376"/>
                  </a:lnTo>
                  <a:lnTo>
                    <a:pt x="1092" y="1392"/>
                  </a:lnTo>
                  <a:lnTo>
                    <a:pt x="1091" y="1407"/>
                  </a:lnTo>
                  <a:lnTo>
                    <a:pt x="1090" y="1424"/>
                  </a:lnTo>
                  <a:lnTo>
                    <a:pt x="1089" y="1442"/>
                  </a:lnTo>
                  <a:lnTo>
                    <a:pt x="1090" y="1458"/>
                  </a:lnTo>
                  <a:lnTo>
                    <a:pt x="1091" y="1475"/>
                  </a:lnTo>
                  <a:lnTo>
                    <a:pt x="1092" y="1492"/>
                  </a:lnTo>
                  <a:lnTo>
                    <a:pt x="1094" y="1507"/>
                  </a:lnTo>
                  <a:lnTo>
                    <a:pt x="1098" y="1523"/>
                  </a:lnTo>
                  <a:lnTo>
                    <a:pt x="1101" y="1537"/>
                  </a:lnTo>
                  <a:lnTo>
                    <a:pt x="1104" y="1550"/>
                  </a:lnTo>
                  <a:lnTo>
                    <a:pt x="1109" y="1564"/>
                  </a:lnTo>
                  <a:lnTo>
                    <a:pt x="1114" y="1577"/>
                  </a:lnTo>
                  <a:lnTo>
                    <a:pt x="1120" y="1589"/>
                  </a:lnTo>
                  <a:lnTo>
                    <a:pt x="1125" y="1602"/>
                  </a:lnTo>
                  <a:lnTo>
                    <a:pt x="1132" y="1613"/>
                  </a:lnTo>
                  <a:lnTo>
                    <a:pt x="1140" y="1624"/>
                  </a:lnTo>
                  <a:lnTo>
                    <a:pt x="1147" y="1634"/>
                  </a:lnTo>
                  <a:lnTo>
                    <a:pt x="1155" y="1644"/>
                  </a:lnTo>
                  <a:lnTo>
                    <a:pt x="1163" y="1653"/>
                  </a:lnTo>
                  <a:lnTo>
                    <a:pt x="1172" y="1662"/>
                  </a:lnTo>
                  <a:lnTo>
                    <a:pt x="1181" y="1669"/>
                  </a:lnTo>
                  <a:lnTo>
                    <a:pt x="1191" y="1677"/>
                  </a:lnTo>
                  <a:lnTo>
                    <a:pt x="1201" y="1684"/>
                  </a:lnTo>
                  <a:lnTo>
                    <a:pt x="1211" y="1690"/>
                  </a:lnTo>
                  <a:lnTo>
                    <a:pt x="1221" y="1696"/>
                  </a:lnTo>
                  <a:lnTo>
                    <a:pt x="1232" y="1702"/>
                  </a:lnTo>
                  <a:lnTo>
                    <a:pt x="1243" y="1706"/>
                  </a:lnTo>
                  <a:lnTo>
                    <a:pt x="1254" y="1710"/>
                  </a:lnTo>
                  <a:lnTo>
                    <a:pt x="1266" y="1714"/>
                  </a:lnTo>
                  <a:lnTo>
                    <a:pt x="1279" y="1717"/>
                  </a:lnTo>
                  <a:lnTo>
                    <a:pt x="1291" y="1719"/>
                  </a:lnTo>
                  <a:lnTo>
                    <a:pt x="1303" y="1722"/>
                  </a:lnTo>
                  <a:lnTo>
                    <a:pt x="1315" y="1723"/>
                  </a:lnTo>
                  <a:lnTo>
                    <a:pt x="1328" y="1724"/>
                  </a:lnTo>
                  <a:lnTo>
                    <a:pt x="1341" y="1724"/>
                  </a:lnTo>
                  <a:close/>
                  <a:moveTo>
                    <a:pt x="1389" y="1566"/>
                  </a:moveTo>
                  <a:lnTo>
                    <a:pt x="1376" y="1565"/>
                  </a:lnTo>
                  <a:lnTo>
                    <a:pt x="1370" y="1565"/>
                  </a:lnTo>
                  <a:lnTo>
                    <a:pt x="1364" y="1564"/>
                  </a:lnTo>
                  <a:lnTo>
                    <a:pt x="1352" y="1560"/>
                  </a:lnTo>
                  <a:lnTo>
                    <a:pt x="1346" y="1559"/>
                  </a:lnTo>
                  <a:lnTo>
                    <a:pt x="1341" y="1557"/>
                  </a:lnTo>
                  <a:lnTo>
                    <a:pt x="1330" y="1552"/>
                  </a:lnTo>
                  <a:lnTo>
                    <a:pt x="1325" y="1549"/>
                  </a:lnTo>
                  <a:lnTo>
                    <a:pt x="1320" y="1546"/>
                  </a:lnTo>
                  <a:lnTo>
                    <a:pt x="1315" y="1543"/>
                  </a:lnTo>
                  <a:lnTo>
                    <a:pt x="1311" y="1539"/>
                  </a:lnTo>
                  <a:lnTo>
                    <a:pt x="1302" y="1532"/>
                  </a:lnTo>
                  <a:lnTo>
                    <a:pt x="1294" y="1524"/>
                  </a:lnTo>
                  <a:lnTo>
                    <a:pt x="1288" y="1514"/>
                  </a:lnTo>
                  <a:lnTo>
                    <a:pt x="1282" y="1504"/>
                  </a:lnTo>
                  <a:lnTo>
                    <a:pt x="1279" y="1498"/>
                  </a:lnTo>
                  <a:lnTo>
                    <a:pt x="1276" y="1493"/>
                  </a:lnTo>
                  <a:lnTo>
                    <a:pt x="1272" y="1482"/>
                  </a:lnTo>
                  <a:lnTo>
                    <a:pt x="1270" y="1468"/>
                  </a:lnTo>
                  <a:lnTo>
                    <a:pt x="1269" y="1462"/>
                  </a:lnTo>
                  <a:lnTo>
                    <a:pt x="1268" y="1455"/>
                  </a:lnTo>
                  <a:lnTo>
                    <a:pt x="1268" y="1442"/>
                  </a:lnTo>
                  <a:lnTo>
                    <a:pt x="1268" y="1427"/>
                  </a:lnTo>
                  <a:lnTo>
                    <a:pt x="1270" y="1415"/>
                  </a:lnTo>
                  <a:lnTo>
                    <a:pt x="1271" y="1408"/>
                  </a:lnTo>
                  <a:lnTo>
                    <a:pt x="1272" y="1402"/>
                  </a:lnTo>
                  <a:lnTo>
                    <a:pt x="1276" y="1391"/>
                  </a:lnTo>
                  <a:lnTo>
                    <a:pt x="1279" y="1385"/>
                  </a:lnTo>
                  <a:lnTo>
                    <a:pt x="1282" y="1379"/>
                  </a:lnTo>
                  <a:lnTo>
                    <a:pt x="1288" y="1369"/>
                  </a:lnTo>
                  <a:lnTo>
                    <a:pt x="1294" y="1359"/>
                  </a:lnTo>
                  <a:lnTo>
                    <a:pt x="1302" y="1351"/>
                  </a:lnTo>
                  <a:lnTo>
                    <a:pt x="1306" y="1347"/>
                  </a:lnTo>
                  <a:lnTo>
                    <a:pt x="1311" y="1344"/>
                  </a:lnTo>
                  <a:lnTo>
                    <a:pt x="1315" y="1341"/>
                  </a:lnTo>
                  <a:lnTo>
                    <a:pt x="1320" y="1337"/>
                  </a:lnTo>
                  <a:lnTo>
                    <a:pt x="1330" y="1331"/>
                  </a:lnTo>
                  <a:lnTo>
                    <a:pt x="1341" y="1326"/>
                  </a:lnTo>
                  <a:lnTo>
                    <a:pt x="1352" y="1323"/>
                  </a:lnTo>
                  <a:lnTo>
                    <a:pt x="1364" y="1319"/>
                  </a:lnTo>
                  <a:lnTo>
                    <a:pt x="1370" y="1318"/>
                  </a:lnTo>
                  <a:lnTo>
                    <a:pt x="1376" y="1318"/>
                  </a:lnTo>
                  <a:lnTo>
                    <a:pt x="1389" y="1317"/>
                  </a:lnTo>
                  <a:lnTo>
                    <a:pt x="1402" y="1318"/>
                  </a:lnTo>
                  <a:lnTo>
                    <a:pt x="1414" y="1319"/>
                  </a:lnTo>
                  <a:lnTo>
                    <a:pt x="1426" y="1323"/>
                  </a:lnTo>
                  <a:lnTo>
                    <a:pt x="1432" y="1324"/>
                  </a:lnTo>
                  <a:lnTo>
                    <a:pt x="1438" y="1326"/>
                  </a:lnTo>
                  <a:lnTo>
                    <a:pt x="1449" y="1331"/>
                  </a:lnTo>
                  <a:lnTo>
                    <a:pt x="1454" y="1334"/>
                  </a:lnTo>
                  <a:lnTo>
                    <a:pt x="1459" y="1337"/>
                  </a:lnTo>
                  <a:lnTo>
                    <a:pt x="1463" y="1341"/>
                  </a:lnTo>
                  <a:lnTo>
                    <a:pt x="1469" y="1344"/>
                  </a:lnTo>
                  <a:lnTo>
                    <a:pt x="1476" y="1351"/>
                  </a:lnTo>
                  <a:lnTo>
                    <a:pt x="1484" y="1359"/>
                  </a:lnTo>
                  <a:lnTo>
                    <a:pt x="1492" y="1369"/>
                  </a:lnTo>
                  <a:lnTo>
                    <a:pt x="1498" y="1379"/>
                  </a:lnTo>
                  <a:lnTo>
                    <a:pt x="1500" y="1385"/>
                  </a:lnTo>
                  <a:lnTo>
                    <a:pt x="1503" y="1391"/>
                  </a:lnTo>
                  <a:lnTo>
                    <a:pt x="1506" y="1402"/>
                  </a:lnTo>
                  <a:lnTo>
                    <a:pt x="1510" y="1415"/>
                  </a:lnTo>
                  <a:lnTo>
                    <a:pt x="1511" y="1421"/>
                  </a:lnTo>
                  <a:lnTo>
                    <a:pt x="1511" y="1427"/>
                  </a:lnTo>
                  <a:lnTo>
                    <a:pt x="1512" y="1442"/>
                  </a:lnTo>
                  <a:lnTo>
                    <a:pt x="1511" y="1455"/>
                  </a:lnTo>
                  <a:lnTo>
                    <a:pt x="1510" y="1468"/>
                  </a:lnTo>
                  <a:lnTo>
                    <a:pt x="1509" y="1475"/>
                  </a:lnTo>
                  <a:lnTo>
                    <a:pt x="1506" y="1482"/>
                  </a:lnTo>
                  <a:lnTo>
                    <a:pt x="1503" y="1493"/>
                  </a:lnTo>
                  <a:lnTo>
                    <a:pt x="1500" y="1498"/>
                  </a:lnTo>
                  <a:lnTo>
                    <a:pt x="1498" y="1504"/>
                  </a:lnTo>
                  <a:lnTo>
                    <a:pt x="1492" y="1514"/>
                  </a:lnTo>
                  <a:lnTo>
                    <a:pt x="1484" y="1524"/>
                  </a:lnTo>
                  <a:lnTo>
                    <a:pt x="1476" y="1532"/>
                  </a:lnTo>
                  <a:lnTo>
                    <a:pt x="1473" y="1536"/>
                  </a:lnTo>
                  <a:lnTo>
                    <a:pt x="1469" y="1539"/>
                  </a:lnTo>
                  <a:lnTo>
                    <a:pt x="1463" y="1543"/>
                  </a:lnTo>
                  <a:lnTo>
                    <a:pt x="1459" y="1546"/>
                  </a:lnTo>
                  <a:lnTo>
                    <a:pt x="1449" y="1552"/>
                  </a:lnTo>
                  <a:lnTo>
                    <a:pt x="1438" y="1557"/>
                  </a:lnTo>
                  <a:lnTo>
                    <a:pt x="1426" y="1560"/>
                  </a:lnTo>
                  <a:lnTo>
                    <a:pt x="1414" y="1564"/>
                  </a:lnTo>
                  <a:lnTo>
                    <a:pt x="1402" y="1565"/>
                  </a:lnTo>
                  <a:lnTo>
                    <a:pt x="1389" y="1566"/>
                  </a:lnTo>
                  <a:close/>
                  <a:moveTo>
                    <a:pt x="2100" y="1158"/>
                  </a:moveTo>
                  <a:lnTo>
                    <a:pt x="2086" y="1160"/>
                  </a:lnTo>
                  <a:lnTo>
                    <a:pt x="2072" y="1161"/>
                  </a:lnTo>
                  <a:lnTo>
                    <a:pt x="2058" y="1163"/>
                  </a:lnTo>
                  <a:lnTo>
                    <a:pt x="2046" y="1165"/>
                  </a:lnTo>
                  <a:lnTo>
                    <a:pt x="2034" y="1169"/>
                  </a:lnTo>
                  <a:lnTo>
                    <a:pt x="2022" y="1174"/>
                  </a:lnTo>
                  <a:lnTo>
                    <a:pt x="2010" y="1178"/>
                  </a:lnTo>
                  <a:lnTo>
                    <a:pt x="1998" y="1184"/>
                  </a:lnTo>
                  <a:lnTo>
                    <a:pt x="1987" y="1191"/>
                  </a:lnTo>
                  <a:lnTo>
                    <a:pt x="1977" y="1198"/>
                  </a:lnTo>
                  <a:lnTo>
                    <a:pt x="1967" y="1206"/>
                  </a:lnTo>
                  <a:lnTo>
                    <a:pt x="1959" y="1215"/>
                  </a:lnTo>
                  <a:lnTo>
                    <a:pt x="1950" y="1225"/>
                  </a:lnTo>
                  <a:lnTo>
                    <a:pt x="1941" y="1235"/>
                  </a:lnTo>
                  <a:lnTo>
                    <a:pt x="1933" y="1245"/>
                  </a:lnTo>
                  <a:lnTo>
                    <a:pt x="1926" y="1256"/>
                  </a:lnTo>
                  <a:lnTo>
                    <a:pt x="1924" y="1256"/>
                  </a:lnTo>
                  <a:lnTo>
                    <a:pt x="1924" y="1176"/>
                  </a:lnTo>
                  <a:lnTo>
                    <a:pt x="1754" y="1176"/>
                  </a:lnTo>
                  <a:lnTo>
                    <a:pt x="1754" y="1707"/>
                  </a:lnTo>
                  <a:lnTo>
                    <a:pt x="1927" y="1707"/>
                  </a:lnTo>
                  <a:lnTo>
                    <a:pt x="1927" y="1441"/>
                  </a:lnTo>
                  <a:lnTo>
                    <a:pt x="1927" y="1424"/>
                  </a:lnTo>
                  <a:lnTo>
                    <a:pt x="1930" y="1408"/>
                  </a:lnTo>
                  <a:lnTo>
                    <a:pt x="1931" y="1401"/>
                  </a:lnTo>
                  <a:lnTo>
                    <a:pt x="1932" y="1394"/>
                  </a:lnTo>
                  <a:lnTo>
                    <a:pt x="1933" y="1387"/>
                  </a:lnTo>
                  <a:lnTo>
                    <a:pt x="1935" y="1381"/>
                  </a:lnTo>
                  <a:lnTo>
                    <a:pt x="1940" y="1368"/>
                  </a:lnTo>
                  <a:lnTo>
                    <a:pt x="1944" y="1358"/>
                  </a:lnTo>
                  <a:lnTo>
                    <a:pt x="1947" y="1354"/>
                  </a:lnTo>
                  <a:lnTo>
                    <a:pt x="1950" y="1349"/>
                  </a:lnTo>
                  <a:lnTo>
                    <a:pt x="1953" y="1345"/>
                  </a:lnTo>
                  <a:lnTo>
                    <a:pt x="1956" y="1341"/>
                  </a:lnTo>
                  <a:lnTo>
                    <a:pt x="1964" y="1334"/>
                  </a:lnTo>
                  <a:lnTo>
                    <a:pt x="1972" y="1327"/>
                  </a:lnTo>
                  <a:lnTo>
                    <a:pt x="1980" y="1323"/>
                  </a:lnTo>
                  <a:lnTo>
                    <a:pt x="1989" y="1318"/>
                  </a:lnTo>
                  <a:lnTo>
                    <a:pt x="1998" y="1315"/>
                  </a:lnTo>
                  <a:lnTo>
                    <a:pt x="2008" y="1314"/>
                  </a:lnTo>
                  <a:lnTo>
                    <a:pt x="2018" y="1312"/>
                  </a:lnTo>
                  <a:lnTo>
                    <a:pt x="2030" y="1312"/>
                  </a:lnTo>
                  <a:lnTo>
                    <a:pt x="2041" y="1312"/>
                  </a:lnTo>
                  <a:lnTo>
                    <a:pt x="2052" y="1314"/>
                  </a:lnTo>
                  <a:lnTo>
                    <a:pt x="2063" y="1315"/>
                  </a:lnTo>
                  <a:lnTo>
                    <a:pt x="2072" y="1318"/>
                  </a:lnTo>
                  <a:lnTo>
                    <a:pt x="2081" y="1323"/>
                  </a:lnTo>
                  <a:lnTo>
                    <a:pt x="2088" y="1327"/>
                  </a:lnTo>
                  <a:lnTo>
                    <a:pt x="2096" y="1333"/>
                  </a:lnTo>
                  <a:lnTo>
                    <a:pt x="2100" y="1336"/>
                  </a:lnTo>
                  <a:lnTo>
                    <a:pt x="2103" y="1339"/>
                  </a:lnTo>
                  <a:lnTo>
                    <a:pt x="2108" y="1347"/>
                  </a:lnTo>
                  <a:lnTo>
                    <a:pt x="2113" y="1355"/>
                  </a:lnTo>
                  <a:lnTo>
                    <a:pt x="2115" y="1361"/>
                  </a:lnTo>
                  <a:lnTo>
                    <a:pt x="2117" y="1365"/>
                  </a:lnTo>
                  <a:lnTo>
                    <a:pt x="2121" y="1375"/>
                  </a:lnTo>
                  <a:lnTo>
                    <a:pt x="2124" y="1386"/>
                  </a:lnTo>
                  <a:lnTo>
                    <a:pt x="2125" y="1399"/>
                  </a:lnTo>
                  <a:lnTo>
                    <a:pt x="2127" y="1413"/>
                  </a:lnTo>
                  <a:lnTo>
                    <a:pt x="2127" y="1426"/>
                  </a:lnTo>
                  <a:lnTo>
                    <a:pt x="2127" y="1707"/>
                  </a:lnTo>
                  <a:lnTo>
                    <a:pt x="2300" y="1707"/>
                  </a:lnTo>
                  <a:lnTo>
                    <a:pt x="2300" y="1378"/>
                  </a:lnTo>
                  <a:lnTo>
                    <a:pt x="2300" y="1364"/>
                  </a:lnTo>
                  <a:lnTo>
                    <a:pt x="2298" y="1351"/>
                  </a:lnTo>
                  <a:lnTo>
                    <a:pt x="2297" y="1338"/>
                  </a:lnTo>
                  <a:lnTo>
                    <a:pt x="2296" y="1325"/>
                  </a:lnTo>
                  <a:lnTo>
                    <a:pt x="2294" y="1314"/>
                  </a:lnTo>
                  <a:lnTo>
                    <a:pt x="2291" y="1302"/>
                  </a:lnTo>
                  <a:lnTo>
                    <a:pt x="2288" y="1291"/>
                  </a:lnTo>
                  <a:lnTo>
                    <a:pt x="2285" y="1281"/>
                  </a:lnTo>
                  <a:lnTo>
                    <a:pt x="2281" y="1269"/>
                  </a:lnTo>
                  <a:lnTo>
                    <a:pt x="2277" y="1261"/>
                  </a:lnTo>
                  <a:lnTo>
                    <a:pt x="2272" y="1251"/>
                  </a:lnTo>
                  <a:lnTo>
                    <a:pt x="2267" y="1243"/>
                  </a:lnTo>
                  <a:lnTo>
                    <a:pt x="2262" y="1234"/>
                  </a:lnTo>
                  <a:lnTo>
                    <a:pt x="2256" y="1226"/>
                  </a:lnTo>
                  <a:lnTo>
                    <a:pt x="2250" y="1218"/>
                  </a:lnTo>
                  <a:lnTo>
                    <a:pt x="2244" y="1212"/>
                  </a:lnTo>
                  <a:lnTo>
                    <a:pt x="2236" y="1205"/>
                  </a:lnTo>
                  <a:lnTo>
                    <a:pt x="2230" y="1199"/>
                  </a:lnTo>
                  <a:lnTo>
                    <a:pt x="2222" y="1194"/>
                  </a:lnTo>
                  <a:lnTo>
                    <a:pt x="2214" y="1188"/>
                  </a:lnTo>
                  <a:lnTo>
                    <a:pt x="2206" y="1184"/>
                  </a:lnTo>
                  <a:lnTo>
                    <a:pt x="2198" y="1179"/>
                  </a:lnTo>
                  <a:lnTo>
                    <a:pt x="2190" y="1175"/>
                  </a:lnTo>
                  <a:lnTo>
                    <a:pt x="2181" y="1172"/>
                  </a:lnTo>
                  <a:lnTo>
                    <a:pt x="2171" y="1168"/>
                  </a:lnTo>
                  <a:lnTo>
                    <a:pt x="2162" y="1166"/>
                  </a:lnTo>
                  <a:lnTo>
                    <a:pt x="2152" y="1164"/>
                  </a:lnTo>
                  <a:lnTo>
                    <a:pt x="2142" y="1162"/>
                  </a:lnTo>
                  <a:lnTo>
                    <a:pt x="2132" y="1161"/>
                  </a:lnTo>
                  <a:lnTo>
                    <a:pt x="2121" y="1160"/>
                  </a:lnTo>
                  <a:lnTo>
                    <a:pt x="2111" y="1160"/>
                  </a:lnTo>
                  <a:lnTo>
                    <a:pt x="2100" y="1158"/>
                  </a:lnTo>
                  <a:close/>
                  <a:moveTo>
                    <a:pt x="2651" y="1954"/>
                  </a:moveTo>
                  <a:lnTo>
                    <a:pt x="2668" y="1954"/>
                  </a:lnTo>
                  <a:lnTo>
                    <a:pt x="2685" y="1953"/>
                  </a:lnTo>
                  <a:lnTo>
                    <a:pt x="2701" y="1951"/>
                  </a:lnTo>
                  <a:lnTo>
                    <a:pt x="2716" y="1950"/>
                  </a:lnTo>
                  <a:lnTo>
                    <a:pt x="2731" y="1948"/>
                  </a:lnTo>
                  <a:lnTo>
                    <a:pt x="2745" y="1946"/>
                  </a:lnTo>
                  <a:lnTo>
                    <a:pt x="2759" y="1943"/>
                  </a:lnTo>
                  <a:lnTo>
                    <a:pt x="2773" y="1939"/>
                  </a:lnTo>
                  <a:lnTo>
                    <a:pt x="2779" y="1937"/>
                  </a:lnTo>
                  <a:lnTo>
                    <a:pt x="2786" y="1935"/>
                  </a:lnTo>
                  <a:lnTo>
                    <a:pt x="2798" y="1930"/>
                  </a:lnTo>
                  <a:lnTo>
                    <a:pt x="2810" y="1925"/>
                  </a:lnTo>
                  <a:lnTo>
                    <a:pt x="2822" y="1919"/>
                  </a:lnTo>
                  <a:lnTo>
                    <a:pt x="2833" y="1914"/>
                  </a:lnTo>
                  <a:lnTo>
                    <a:pt x="2844" y="1907"/>
                  </a:lnTo>
                  <a:lnTo>
                    <a:pt x="2853" y="1900"/>
                  </a:lnTo>
                  <a:lnTo>
                    <a:pt x="2863" y="1893"/>
                  </a:lnTo>
                  <a:lnTo>
                    <a:pt x="2872" y="1885"/>
                  </a:lnTo>
                  <a:lnTo>
                    <a:pt x="2879" y="1877"/>
                  </a:lnTo>
                  <a:lnTo>
                    <a:pt x="2887" y="1868"/>
                  </a:lnTo>
                  <a:lnTo>
                    <a:pt x="2895" y="1858"/>
                  </a:lnTo>
                  <a:lnTo>
                    <a:pt x="2902" y="1848"/>
                  </a:lnTo>
                  <a:lnTo>
                    <a:pt x="2907" y="1838"/>
                  </a:lnTo>
                  <a:lnTo>
                    <a:pt x="2913" y="1827"/>
                  </a:lnTo>
                  <a:lnTo>
                    <a:pt x="2918" y="1816"/>
                  </a:lnTo>
                  <a:lnTo>
                    <a:pt x="2923" y="1804"/>
                  </a:lnTo>
                  <a:lnTo>
                    <a:pt x="2926" y="1792"/>
                  </a:lnTo>
                  <a:lnTo>
                    <a:pt x="2929" y="1779"/>
                  </a:lnTo>
                  <a:lnTo>
                    <a:pt x="2932" y="1766"/>
                  </a:lnTo>
                  <a:lnTo>
                    <a:pt x="2934" y="1752"/>
                  </a:lnTo>
                  <a:lnTo>
                    <a:pt x="2936" y="1737"/>
                  </a:lnTo>
                  <a:lnTo>
                    <a:pt x="2937" y="1723"/>
                  </a:lnTo>
                  <a:lnTo>
                    <a:pt x="2937" y="1707"/>
                  </a:lnTo>
                  <a:lnTo>
                    <a:pt x="2937" y="1176"/>
                  </a:lnTo>
                  <a:lnTo>
                    <a:pt x="2764" y="1176"/>
                  </a:lnTo>
                  <a:lnTo>
                    <a:pt x="2764" y="1248"/>
                  </a:lnTo>
                  <a:lnTo>
                    <a:pt x="2762" y="1248"/>
                  </a:lnTo>
                  <a:lnTo>
                    <a:pt x="2755" y="1238"/>
                  </a:lnTo>
                  <a:lnTo>
                    <a:pt x="2748" y="1229"/>
                  </a:lnTo>
                  <a:lnTo>
                    <a:pt x="2741" y="1221"/>
                  </a:lnTo>
                  <a:lnTo>
                    <a:pt x="2733" y="1212"/>
                  </a:lnTo>
                  <a:lnTo>
                    <a:pt x="2724" y="1204"/>
                  </a:lnTo>
                  <a:lnTo>
                    <a:pt x="2715" y="1196"/>
                  </a:lnTo>
                  <a:lnTo>
                    <a:pt x="2709" y="1193"/>
                  </a:lnTo>
                  <a:lnTo>
                    <a:pt x="2705" y="1189"/>
                  </a:lnTo>
                  <a:lnTo>
                    <a:pt x="2694" y="1184"/>
                  </a:lnTo>
                  <a:lnTo>
                    <a:pt x="2684" y="1178"/>
                  </a:lnTo>
                  <a:lnTo>
                    <a:pt x="2672" y="1173"/>
                  </a:lnTo>
                  <a:lnTo>
                    <a:pt x="2659" y="1168"/>
                  </a:lnTo>
                  <a:lnTo>
                    <a:pt x="2646" y="1165"/>
                  </a:lnTo>
                  <a:lnTo>
                    <a:pt x="2633" y="1163"/>
                  </a:lnTo>
                  <a:lnTo>
                    <a:pt x="2618" y="1161"/>
                  </a:lnTo>
                  <a:lnTo>
                    <a:pt x="2604" y="1160"/>
                  </a:lnTo>
                  <a:lnTo>
                    <a:pt x="2587" y="1158"/>
                  </a:lnTo>
                  <a:lnTo>
                    <a:pt x="2575" y="1160"/>
                  </a:lnTo>
                  <a:lnTo>
                    <a:pt x="2562" y="1160"/>
                  </a:lnTo>
                  <a:lnTo>
                    <a:pt x="2537" y="1164"/>
                  </a:lnTo>
                  <a:lnTo>
                    <a:pt x="2525" y="1166"/>
                  </a:lnTo>
                  <a:lnTo>
                    <a:pt x="2513" y="1169"/>
                  </a:lnTo>
                  <a:lnTo>
                    <a:pt x="2502" y="1173"/>
                  </a:lnTo>
                  <a:lnTo>
                    <a:pt x="2491" y="1177"/>
                  </a:lnTo>
                  <a:lnTo>
                    <a:pt x="2479" y="1182"/>
                  </a:lnTo>
                  <a:lnTo>
                    <a:pt x="2468" y="1187"/>
                  </a:lnTo>
                  <a:lnTo>
                    <a:pt x="2457" y="1193"/>
                  </a:lnTo>
                  <a:lnTo>
                    <a:pt x="2447" y="1199"/>
                  </a:lnTo>
                  <a:lnTo>
                    <a:pt x="2437" y="1206"/>
                  </a:lnTo>
                  <a:lnTo>
                    <a:pt x="2428" y="1214"/>
                  </a:lnTo>
                  <a:lnTo>
                    <a:pt x="2419" y="1222"/>
                  </a:lnTo>
                  <a:lnTo>
                    <a:pt x="2411" y="1231"/>
                  </a:lnTo>
                  <a:lnTo>
                    <a:pt x="2402" y="1239"/>
                  </a:lnTo>
                  <a:lnTo>
                    <a:pt x="2394" y="1249"/>
                  </a:lnTo>
                  <a:lnTo>
                    <a:pt x="2386" y="1259"/>
                  </a:lnTo>
                  <a:lnTo>
                    <a:pt x="2379" y="1271"/>
                  </a:lnTo>
                  <a:lnTo>
                    <a:pt x="2373" y="1282"/>
                  </a:lnTo>
                  <a:lnTo>
                    <a:pt x="2366" y="1293"/>
                  </a:lnTo>
                  <a:lnTo>
                    <a:pt x="2361" y="1305"/>
                  </a:lnTo>
                  <a:lnTo>
                    <a:pt x="2356" y="1318"/>
                  </a:lnTo>
                  <a:lnTo>
                    <a:pt x="2352" y="1332"/>
                  </a:lnTo>
                  <a:lnTo>
                    <a:pt x="2347" y="1346"/>
                  </a:lnTo>
                  <a:lnTo>
                    <a:pt x="2346" y="1353"/>
                  </a:lnTo>
                  <a:lnTo>
                    <a:pt x="2344" y="1361"/>
                  </a:lnTo>
                  <a:lnTo>
                    <a:pt x="2342" y="1375"/>
                  </a:lnTo>
                  <a:lnTo>
                    <a:pt x="2340" y="1391"/>
                  </a:lnTo>
                  <a:lnTo>
                    <a:pt x="2337" y="1407"/>
                  </a:lnTo>
                  <a:lnTo>
                    <a:pt x="2336" y="1424"/>
                  </a:lnTo>
                  <a:lnTo>
                    <a:pt x="2336" y="1441"/>
                  </a:lnTo>
                  <a:lnTo>
                    <a:pt x="2336" y="1457"/>
                  </a:lnTo>
                  <a:lnTo>
                    <a:pt x="2337" y="1474"/>
                  </a:lnTo>
                  <a:lnTo>
                    <a:pt x="2338" y="1489"/>
                  </a:lnTo>
                  <a:lnTo>
                    <a:pt x="2341" y="1505"/>
                  </a:lnTo>
                  <a:lnTo>
                    <a:pt x="2344" y="1519"/>
                  </a:lnTo>
                  <a:lnTo>
                    <a:pt x="2347" y="1534"/>
                  </a:lnTo>
                  <a:lnTo>
                    <a:pt x="2352" y="1548"/>
                  </a:lnTo>
                  <a:lnTo>
                    <a:pt x="2356" y="1562"/>
                  </a:lnTo>
                  <a:lnTo>
                    <a:pt x="2361" y="1574"/>
                  </a:lnTo>
                  <a:lnTo>
                    <a:pt x="2366" y="1586"/>
                  </a:lnTo>
                  <a:lnTo>
                    <a:pt x="2372" y="1597"/>
                  </a:lnTo>
                  <a:lnTo>
                    <a:pt x="2378" y="1608"/>
                  </a:lnTo>
                  <a:lnTo>
                    <a:pt x="2386" y="1619"/>
                  </a:lnTo>
                  <a:lnTo>
                    <a:pt x="2393" y="1629"/>
                  </a:lnTo>
                  <a:lnTo>
                    <a:pt x="2401" y="1638"/>
                  </a:lnTo>
                  <a:lnTo>
                    <a:pt x="2409" y="1647"/>
                  </a:lnTo>
                  <a:lnTo>
                    <a:pt x="2418" y="1656"/>
                  </a:lnTo>
                  <a:lnTo>
                    <a:pt x="2427" y="1664"/>
                  </a:lnTo>
                  <a:lnTo>
                    <a:pt x="2436" y="1670"/>
                  </a:lnTo>
                  <a:lnTo>
                    <a:pt x="2446" y="1677"/>
                  </a:lnTo>
                  <a:lnTo>
                    <a:pt x="2456" y="1684"/>
                  </a:lnTo>
                  <a:lnTo>
                    <a:pt x="2467" y="1689"/>
                  </a:lnTo>
                  <a:lnTo>
                    <a:pt x="2477" y="1695"/>
                  </a:lnTo>
                  <a:lnTo>
                    <a:pt x="2488" y="1699"/>
                  </a:lnTo>
                  <a:lnTo>
                    <a:pt x="2501" y="1703"/>
                  </a:lnTo>
                  <a:lnTo>
                    <a:pt x="2512" y="1706"/>
                  </a:lnTo>
                  <a:lnTo>
                    <a:pt x="2524" y="1709"/>
                  </a:lnTo>
                  <a:lnTo>
                    <a:pt x="2536" y="1712"/>
                  </a:lnTo>
                  <a:lnTo>
                    <a:pt x="2548" y="1714"/>
                  </a:lnTo>
                  <a:lnTo>
                    <a:pt x="2561" y="1715"/>
                  </a:lnTo>
                  <a:lnTo>
                    <a:pt x="2574" y="1716"/>
                  </a:lnTo>
                  <a:lnTo>
                    <a:pt x="2586" y="1716"/>
                  </a:lnTo>
                  <a:lnTo>
                    <a:pt x="2603" y="1716"/>
                  </a:lnTo>
                  <a:lnTo>
                    <a:pt x="2618" y="1715"/>
                  </a:lnTo>
                  <a:lnTo>
                    <a:pt x="2634" y="1713"/>
                  </a:lnTo>
                  <a:lnTo>
                    <a:pt x="2647" y="1709"/>
                  </a:lnTo>
                  <a:lnTo>
                    <a:pt x="2661" y="1706"/>
                  </a:lnTo>
                  <a:lnTo>
                    <a:pt x="2673" y="1702"/>
                  </a:lnTo>
                  <a:lnTo>
                    <a:pt x="2685" y="1697"/>
                  </a:lnTo>
                  <a:lnTo>
                    <a:pt x="2696" y="1692"/>
                  </a:lnTo>
                  <a:lnTo>
                    <a:pt x="2706" y="1686"/>
                  </a:lnTo>
                  <a:lnTo>
                    <a:pt x="2716" y="1679"/>
                  </a:lnTo>
                  <a:lnTo>
                    <a:pt x="2725" y="1673"/>
                  </a:lnTo>
                  <a:lnTo>
                    <a:pt x="2734" y="1666"/>
                  </a:lnTo>
                  <a:lnTo>
                    <a:pt x="2742" y="1658"/>
                  </a:lnTo>
                  <a:lnTo>
                    <a:pt x="2748" y="1652"/>
                  </a:lnTo>
                  <a:lnTo>
                    <a:pt x="2755" y="1644"/>
                  </a:lnTo>
                  <a:lnTo>
                    <a:pt x="2762" y="1636"/>
                  </a:lnTo>
                  <a:lnTo>
                    <a:pt x="2764" y="1636"/>
                  </a:lnTo>
                  <a:lnTo>
                    <a:pt x="2764" y="1670"/>
                  </a:lnTo>
                  <a:lnTo>
                    <a:pt x="2763" y="1687"/>
                  </a:lnTo>
                  <a:lnTo>
                    <a:pt x="2762" y="1703"/>
                  </a:lnTo>
                  <a:lnTo>
                    <a:pt x="2759" y="1716"/>
                  </a:lnTo>
                  <a:lnTo>
                    <a:pt x="2758" y="1723"/>
                  </a:lnTo>
                  <a:lnTo>
                    <a:pt x="2756" y="1728"/>
                  </a:lnTo>
                  <a:lnTo>
                    <a:pt x="2754" y="1734"/>
                  </a:lnTo>
                  <a:lnTo>
                    <a:pt x="2752" y="1739"/>
                  </a:lnTo>
                  <a:lnTo>
                    <a:pt x="2747" y="1749"/>
                  </a:lnTo>
                  <a:lnTo>
                    <a:pt x="2741" y="1758"/>
                  </a:lnTo>
                  <a:lnTo>
                    <a:pt x="2737" y="1763"/>
                  </a:lnTo>
                  <a:lnTo>
                    <a:pt x="2734" y="1766"/>
                  </a:lnTo>
                  <a:lnTo>
                    <a:pt x="2725" y="1773"/>
                  </a:lnTo>
                  <a:lnTo>
                    <a:pt x="2716" y="1778"/>
                  </a:lnTo>
                  <a:lnTo>
                    <a:pt x="2706" y="1783"/>
                  </a:lnTo>
                  <a:lnTo>
                    <a:pt x="2695" y="1786"/>
                  </a:lnTo>
                  <a:lnTo>
                    <a:pt x="2683" y="1789"/>
                  </a:lnTo>
                  <a:lnTo>
                    <a:pt x="2668" y="1790"/>
                  </a:lnTo>
                  <a:lnTo>
                    <a:pt x="2654" y="1792"/>
                  </a:lnTo>
                  <a:lnTo>
                    <a:pt x="2638" y="1792"/>
                  </a:lnTo>
                  <a:lnTo>
                    <a:pt x="2623" y="1792"/>
                  </a:lnTo>
                  <a:lnTo>
                    <a:pt x="2605" y="1790"/>
                  </a:lnTo>
                  <a:lnTo>
                    <a:pt x="2585" y="1789"/>
                  </a:lnTo>
                  <a:lnTo>
                    <a:pt x="2563" y="1787"/>
                  </a:lnTo>
                  <a:lnTo>
                    <a:pt x="2538" y="1783"/>
                  </a:lnTo>
                  <a:lnTo>
                    <a:pt x="2513" y="1778"/>
                  </a:lnTo>
                  <a:lnTo>
                    <a:pt x="2484" y="1773"/>
                  </a:lnTo>
                  <a:lnTo>
                    <a:pt x="2452" y="1766"/>
                  </a:lnTo>
                  <a:lnTo>
                    <a:pt x="2424" y="1928"/>
                  </a:lnTo>
                  <a:lnTo>
                    <a:pt x="2456" y="1934"/>
                  </a:lnTo>
                  <a:lnTo>
                    <a:pt x="2489" y="1939"/>
                  </a:lnTo>
                  <a:lnTo>
                    <a:pt x="2521" y="1944"/>
                  </a:lnTo>
                  <a:lnTo>
                    <a:pt x="2551" y="1948"/>
                  </a:lnTo>
                  <a:lnTo>
                    <a:pt x="2578" y="1950"/>
                  </a:lnTo>
                  <a:lnTo>
                    <a:pt x="2605" y="1953"/>
                  </a:lnTo>
                  <a:lnTo>
                    <a:pt x="2629" y="1954"/>
                  </a:lnTo>
                  <a:lnTo>
                    <a:pt x="2651" y="1954"/>
                  </a:lnTo>
                  <a:close/>
                  <a:moveTo>
                    <a:pt x="2636" y="1566"/>
                  </a:moveTo>
                  <a:lnTo>
                    <a:pt x="2623" y="1565"/>
                  </a:lnTo>
                  <a:lnTo>
                    <a:pt x="2617" y="1565"/>
                  </a:lnTo>
                  <a:lnTo>
                    <a:pt x="2611" y="1564"/>
                  </a:lnTo>
                  <a:lnTo>
                    <a:pt x="2599" y="1560"/>
                  </a:lnTo>
                  <a:lnTo>
                    <a:pt x="2594" y="1559"/>
                  </a:lnTo>
                  <a:lnTo>
                    <a:pt x="2588" y="1557"/>
                  </a:lnTo>
                  <a:lnTo>
                    <a:pt x="2577" y="1552"/>
                  </a:lnTo>
                  <a:lnTo>
                    <a:pt x="2567" y="1546"/>
                  </a:lnTo>
                  <a:lnTo>
                    <a:pt x="2563" y="1543"/>
                  </a:lnTo>
                  <a:lnTo>
                    <a:pt x="2558" y="1539"/>
                  </a:lnTo>
                  <a:lnTo>
                    <a:pt x="2549" y="1532"/>
                  </a:lnTo>
                  <a:lnTo>
                    <a:pt x="2542" y="1524"/>
                  </a:lnTo>
                  <a:lnTo>
                    <a:pt x="2535" y="1514"/>
                  </a:lnTo>
                  <a:lnTo>
                    <a:pt x="2528" y="1504"/>
                  </a:lnTo>
                  <a:lnTo>
                    <a:pt x="2526" y="1498"/>
                  </a:lnTo>
                  <a:lnTo>
                    <a:pt x="2524" y="1493"/>
                  </a:lnTo>
                  <a:lnTo>
                    <a:pt x="2519" y="1482"/>
                  </a:lnTo>
                  <a:lnTo>
                    <a:pt x="2516" y="1468"/>
                  </a:lnTo>
                  <a:lnTo>
                    <a:pt x="2515" y="1462"/>
                  </a:lnTo>
                  <a:lnTo>
                    <a:pt x="2515" y="1455"/>
                  </a:lnTo>
                  <a:lnTo>
                    <a:pt x="2514" y="1442"/>
                  </a:lnTo>
                  <a:lnTo>
                    <a:pt x="2515" y="1427"/>
                  </a:lnTo>
                  <a:lnTo>
                    <a:pt x="2516" y="1415"/>
                  </a:lnTo>
                  <a:lnTo>
                    <a:pt x="2518" y="1408"/>
                  </a:lnTo>
                  <a:lnTo>
                    <a:pt x="2519" y="1402"/>
                  </a:lnTo>
                  <a:lnTo>
                    <a:pt x="2524" y="1391"/>
                  </a:lnTo>
                  <a:lnTo>
                    <a:pt x="2526" y="1385"/>
                  </a:lnTo>
                  <a:lnTo>
                    <a:pt x="2528" y="1379"/>
                  </a:lnTo>
                  <a:lnTo>
                    <a:pt x="2535" y="1369"/>
                  </a:lnTo>
                  <a:lnTo>
                    <a:pt x="2542" y="1359"/>
                  </a:lnTo>
                  <a:lnTo>
                    <a:pt x="2549" y="1351"/>
                  </a:lnTo>
                  <a:lnTo>
                    <a:pt x="2554" y="1347"/>
                  </a:lnTo>
                  <a:lnTo>
                    <a:pt x="2558" y="1344"/>
                  </a:lnTo>
                  <a:lnTo>
                    <a:pt x="2563" y="1341"/>
                  </a:lnTo>
                  <a:lnTo>
                    <a:pt x="2567" y="1337"/>
                  </a:lnTo>
                  <a:lnTo>
                    <a:pt x="2577" y="1331"/>
                  </a:lnTo>
                  <a:lnTo>
                    <a:pt x="2588" y="1326"/>
                  </a:lnTo>
                  <a:lnTo>
                    <a:pt x="2599" y="1323"/>
                  </a:lnTo>
                  <a:lnTo>
                    <a:pt x="2611" y="1319"/>
                  </a:lnTo>
                  <a:lnTo>
                    <a:pt x="2617" y="1318"/>
                  </a:lnTo>
                  <a:lnTo>
                    <a:pt x="2623" y="1318"/>
                  </a:lnTo>
                  <a:lnTo>
                    <a:pt x="2636" y="1317"/>
                  </a:lnTo>
                  <a:lnTo>
                    <a:pt x="2649" y="1318"/>
                  </a:lnTo>
                  <a:lnTo>
                    <a:pt x="2662" y="1319"/>
                  </a:lnTo>
                  <a:lnTo>
                    <a:pt x="2674" y="1323"/>
                  </a:lnTo>
                  <a:lnTo>
                    <a:pt x="2679" y="1324"/>
                  </a:lnTo>
                  <a:lnTo>
                    <a:pt x="2685" y="1326"/>
                  </a:lnTo>
                  <a:lnTo>
                    <a:pt x="2696" y="1331"/>
                  </a:lnTo>
                  <a:lnTo>
                    <a:pt x="2701" y="1334"/>
                  </a:lnTo>
                  <a:lnTo>
                    <a:pt x="2706" y="1337"/>
                  </a:lnTo>
                  <a:lnTo>
                    <a:pt x="2711" y="1341"/>
                  </a:lnTo>
                  <a:lnTo>
                    <a:pt x="2715" y="1344"/>
                  </a:lnTo>
                  <a:lnTo>
                    <a:pt x="2724" y="1351"/>
                  </a:lnTo>
                  <a:lnTo>
                    <a:pt x="2732" y="1359"/>
                  </a:lnTo>
                  <a:lnTo>
                    <a:pt x="2738" y="1369"/>
                  </a:lnTo>
                  <a:lnTo>
                    <a:pt x="2745" y="1379"/>
                  </a:lnTo>
                  <a:lnTo>
                    <a:pt x="2747" y="1385"/>
                  </a:lnTo>
                  <a:lnTo>
                    <a:pt x="2749" y="1391"/>
                  </a:lnTo>
                  <a:lnTo>
                    <a:pt x="2754" y="1402"/>
                  </a:lnTo>
                  <a:lnTo>
                    <a:pt x="2756" y="1415"/>
                  </a:lnTo>
                  <a:lnTo>
                    <a:pt x="2757" y="1421"/>
                  </a:lnTo>
                  <a:lnTo>
                    <a:pt x="2758" y="1427"/>
                  </a:lnTo>
                  <a:lnTo>
                    <a:pt x="2759" y="1442"/>
                  </a:lnTo>
                  <a:lnTo>
                    <a:pt x="2758" y="1455"/>
                  </a:lnTo>
                  <a:lnTo>
                    <a:pt x="2756" y="1468"/>
                  </a:lnTo>
                  <a:lnTo>
                    <a:pt x="2755" y="1475"/>
                  </a:lnTo>
                  <a:lnTo>
                    <a:pt x="2754" y="1482"/>
                  </a:lnTo>
                  <a:lnTo>
                    <a:pt x="2749" y="1493"/>
                  </a:lnTo>
                  <a:lnTo>
                    <a:pt x="2747" y="1498"/>
                  </a:lnTo>
                  <a:lnTo>
                    <a:pt x="2745" y="1504"/>
                  </a:lnTo>
                  <a:lnTo>
                    <a:pt x="2738" y="1514"/>
                  </a:lnTo>
                  <a:lnTo>
                    <a:pt x="2732" y="1524"/>
                  </a:lnTo>
                  <a:lnTo>
                    <a:pt x="2724" y="1532"/>
                  </a:lnTo>
                  <a:lnTo>
                    <a:pt x="2719" y="1536"/>
                  </a:lnTo>
                  <a:lnTo>
                    <a:pt x="2715" y="1539"/>
                  </a:lnTo>
                  <a:lnTo>
                    <a:pt x="2711" y="1543"/>
                  </a:lnTo>
                  <a:lnTo>
                    <a:pt x="2706" y="1546"/>
                  </a:lnTo>
                  <a:lnTo>
                    <a:pt x="2696" y="1552"/>
                  </a:lnTo>
                  <a:lnTo>
                    <a:pt x="2685" y="1557"/>
                  </a:lnTo>
                  <a:lnTo>
                    <a:pt x="2674" y="1560"/>
                  </a:lnTo>
                  <a:lnTo>
                    <a:pt x="2662" y="1564"/>
                  </a:lnTo>
                  <a:lnTo>
                    <a:pt x="2649" y="1565"/>
                  </a:lnTo>
                  <a:lnTo>
                    <a:pt x="2636" y="1566"/>
                  </a:lnTo>
                  <a:close/>
                  <a:moveTo>
                    <a:pt x="3254" y="1160"/>
                  </a:moveTo>
                  <a:lnTo>
                    <a:pt x="3239" y="1161"/>
                  </a:lnTo>
                  <a:lnTo>
                    <a:pt x="3224" y="1162"/>
                  </a:lnTo>
                  <a:lnTo>
                    <a:pt x="3209" y="1163"/>
                  </a:lnTo>
                  <a:lnTo>
                    <a:pt x="3195" y="1165"/>
                  </a:lnTo>
                  <a:lnTo>
                    <a:pt x="3181" y="1167"/>
                  </a:lnTo>
                  <a:lnTo>
                    <a:pt x="3167" y="1171"/>
                  </a:lnTo>
                  <a:lnTo>
                    <a:pt x="3154" y="1175"/>
                  </a:lnTo>
                  <a:lnTo>
                    <a:pt x="3141" y="1179"/>
                  </a:lnTo>
                  <a:lnTo>
                    <a:pt x="3129" y="1184"/>
                  </a:lnTo>
                  <a:lnTo>
                    <a:pt x="3117" y="1189"/>
                  </a:lnTo>
                  <a:lnTo>
                    <a:pt x="3105" y="1196"/>
                  </a:lnTo>
                  <a:lnTo>
                    <a:pt x="3094" y="1203"/>
                  </a:lnTo>
                  <a:lnTo>
                    <a:pt x="3083" y="1209"/>
                  </a:lnTo>
                  <a:lnTo>
                    <a:pt x="3073" y="1217"/>
                  </a:lnTo>
                  <a:lnTo>
                    <a:pt x="3063" y="1226"/>
                  </a:lnTo>
                  <a:lnTo>
                    <a:pt x="3053" y="1235"/>
                  </a:lnTo>
                  <a:lnTo>
                    <a:pt x="3044" y="1244"/>
                  </a:lnTo>
                  <a:lnTo>
                    <a:pt x="3035" y="1254"/>
                  </a:lnTo>
                  <a:lnTo>
                    <a:pt x="3027" y="1264"/>
                  </a:lnTo>
                  <a:lnTo>
                    <a:pt x="3019" y="1275"/>
                  </a:lnTo>
                  <a:lnTo>
                    <a:pt x="3013" y="1287"/>
                  </a:lnTo>
                  <a:lnTo>
                    <a:pt x="3006" y="1298"/>
                  </a:lnTo>
                  <a:lnTo>
                    <a:pt x="3003" y="1305"/>
                  </a:lnTo>
                  <a:lnTo>
                    <a:pt x="2999" y="1311"/>
                  </a:lnTo>
                  <a:lnTo>
                    <a:pt x="2995" y="1324"/>
                  </a:lnTo>
                  <a:lnTo>
                    <a:pt x="2989" y="1337"/>
                  </a:lnTo>
                  <a:lnTo>
                    <a:pt x="2986" y="1352"/>
                  </a:lnTo>
                  <a:lnTo>
                    <a:pt x="2982" y="1365"/>
                  </a:lnTo>
                  <a:lnTo>
                    <a:pt x="2979" y="1381"/>
                  </a:lnTo>
                  <a:lnTo>
                    <a:pt x="2977" y="1395"/>
                  </a:lnTo>
                  <a:lnTo>
                    <a:pt x="2975" y="1412"/>
                  </a:lnTo>
                  <a:lnTo>
                    <a:pt x="2974" y="1427"/>
                  </a:lnTo>
                  <a:lnTo>
                    <a:pt x="2974" y="1444"/>
                  </a:lnTo>
                  <a:lnTo>
                    <a:pt x="2974" y="1459"/>
                  </a:lnTo>
                  <a:lnTo>
                    <a:pt x="2975" y="1475"/>
                  </a:lnTo>
                  <a:lnTo>
                    <a:pt x="2977" y="1489"/>
                  </a:lnTo>
                  <a:lnTo>
                    <a:pt x="2979" y="1505"/>
                  </a:lnTo>
                  <a:lnTo>
                    <a:pt x="2982" y="1518"/>
                  </a:lnTo>
                  <a:lnTo>
                    <a:pt x="2986" y="1533"/>
                  </a:lnTo>
                  <a:lnTo>
                    <a:pt x="2990" y="1546"/>
                  </a:lnTo>
                  <a:lnTo>
                    <a:pt x="2993" y="1553"/>
                  </a:lnTo>
                  <a:lnTo>
                    <a:pt x="2995" y="1559"/>
                  </a:lnTo>
                  <a:lnTo>
                    <a:pt x="3000" y="1572"/>
                  </a:lnTo>
                  <a:lnTo>
                    <a:pt x="3006" y="1584"/>
                  </a:lnTo>
                  <a:lnTo>
                    <a:pt x="3013" y="1596"/>
                  </a:lnTo>
                  <a:lnTo>
                    <a:pt x="3020" y="1607"/>
                  </a:lnTo>
                  <a:lnTo>
                    <a:pt x="3028" y="1617"/>
                  </a:lnTo>
                  <a:lnTo>
                    <a:pt x="3037" y="1628"/>
                  </a:lnTo>
                  <a:lnTo>
                    <a:pt x="3046" y="1638"/>
                  </a:lnTo>
                  <a:lnTo>
                    <a:pt x="3055" y="1647"/>
                  </a:lnTo>
                  <a:lnTo>
                    <a:pt x="3065" y="1656"/>
                  </a:lnTo>
                  <a:lnTo>
                    <a:pt x="3076" y="1665"/>
                  </a:lnTo>
                  <a:lnTo>
                    <a:pt x="3086" y="1673"/>
                  </a:lnTo>
                  <a:lnTo>
                    <a:pt x="3098" y="1680"/>
                  </a:lnTo>
                  <a:lnTo>
                    <a:pt x="3110" y="1687"/>
                  </a:lnTo>
                  <a:lnTo>
                    <a:pt x="3123" y="1693"/>
                  </a:lnTo>
                  <a:lnTo>
                    <a:pt x="3135" y="1699"/>
                  </a:lnTo>
                  <a:lnTo>
                    <a:pt x="3148" y="1704"/>
                  </a:lnTo>
                  <a:lnTo>
                    <a:pt x="3163" y="1709"/>
                  </a:lnTo>
                  <a:lnTo>
                    <a:pt x="3177" y="1713"/>
                  </a:lnTo>
                  <a:lnTo>
                    <a:pt x="3191" y="1716"/>
                  </a:lnTo>
                  <a:lnTo>
                    <a:pt x="3206" y="1719"/>
                  </a:lnTo>
                  <a:lnTo>
                    <a:pt x="3221" y="1722"/>
                  </a:lnTo>
                  <a:lnTo>
                    <a:pt x="3237" y="1723"/>
                  </a:lnTo>
                  <a:lnTo>
                    <a:pt x="3254" y="1724"/>
                  </a:lnTo>
                  <a:lnTo>
                    <a:pt x="3270" y="1724"/>
                  </a:lnTo>
                  <a:lnTo>
                    <a:pt x="3287" y="1724"/>
                  </a:lnTo>
                  <a:lnTo>
                    <a:pt x="3304" y="1723"/>
                  </a:lnTo>
                  <a:lnTo>
                    <a:pt x="3319" y="1722"/>
                  </a:lnTo>
                  <a:lnTo>
                    <a:pt x="3335" y="1719"/>
                  </a:lnTo>
                  <a:lnTo>
                    <a:pt x="3350" y="1717"/>
                  </a:lnTo>
                  <a:lnTo>
                    <a:pt x="3365" y="1714"/>
                  </a:lnTo>
                  <a:lnTo>
                    <a:pt x="3379" y="1710"/>
                  </a:lnTo>
                  <a:lnTo>
                    <a:pt x="3393" y="1706"/>
                  </a:lnTo>
                  <a:lnTo>
                    <a:pt x="3406" y="1702"/>
                  </a:lnTo>
                  <a:lnTo>
                    <a:pt x="3419" y="1697"/>
                  </a:lnTo>
                  <a:lnTo>
                    <a:pt x="3445" y="1686"/>
                  </a:lnTo>
                  <a:lnTo>
                    <a:pt x="3456" y="1680"/>
                  </a:lnTo>
                  <a:lnTo>
                    <a:pt x="3468" y="1675"/>
                  </a:lnTo>
                  <a:lnTo>
                    <a:pt x="3489" y="1663"/>
                  </a:lnTo>
                  <a:lnTo>
                    <a:pt x="3426" y="1532"/>
                  </a:lnTo>
                  <a:lnTo>
                    <a:pt x="3413" y="1539"/>
                  </a:lnTo>
                  <a:lnTo>
                    <a:pt x="3397" y="1548"/>
                  </a:lnTo>
                  <a:lnTo>
                    <a:pt x="3380" y="1556"/>
                  </a:lnTo>
                  <a:lnTo>
                    <a:pt x="3361" y="1564"/>
                  </a:lnTo>
                  <a:lnTo>
                    <a:pt x="3340" y="1570"/>
                  </a:lnTo>
                  <a:lnTo>
                    <a:pt x="3330" y="1573"/>
                  </a:lnTo>
                  <a:lnTo>
                    <a:pt x="3319" y="1575"/>
                  </a:lnTo>
                  <a:lnTo>
                    <a:pt x="3308" y="1577"/>
                  </a:lnTo>
                  <a:lnTo>
                    <a:pt x="3296" y="1578"/>
                  </a:lnTo>
                  <a:lnTo>
                    <a:pt x="3285" y="1579"/>
                  </a:lnTo>
                  <a:lnTo>
                    <a:pt x="3273" y="1579"/>
                  </a:lnTo>
                  <a:lnTo>
                    <a:pt x="3259" y="1579"/>
                  </a:lnTo>
                  <a:lnTo>
                    <a:pt x="3247" y="1578"/>
                  </a:lnTo>
                  <a:lnTo>
                    <a:pt x="3235" y="1576"/>
                  </a:lnTo>
                  <a:lnTo>
                    <a:pt x="3223" y="1574"/>
                  </a:lnTo>
                  <a:lnTo>
                    <a:pt x="3217" y="1573"/>
                  </a:lnTo>
                  <a:lnTo>
                    <a:pt x="3211" y="1570"/>
                  </a:lnTo>
                  <a:lnTo>
                    <a:pt x="3201" y="1566"/>
                  </a:lnTo>
                  <a:lnTo>
                    <a:pt x="3191" y="1562"/>
                  </a:lnTo>
                  <a:lnTo>
                    <a:pt x="3183" y="1556"/>
                  </a:lnTo>
                  <a:lnTo>
                    <a:pt x="3174" y="1549"/>
                  </a:lnTo>
                  <a:lnTo>
                    <a:pt x="3166" y="1543"/>
                  </a:lnTo>
                  <a:lnTo>
                    <a:pt x="3159" y="1535"/>
                  </a:lnTo>
                  <a:lnTo>
                    <a:pt x="3153" y="1526"/>
                  </a:lnTo>
                  <a:lnTo>
                    <a:pt x="3147" y="1516"/>
                  </a:lnTo>
                  <a:lnTo>
                    <a:pt x="3143" y="1506"/>
                  </a:lnTo>
                  <a:lnTo>
                    <a:pt x="3139" y="1495"/>
                  </a:lnTo>
                  <a:lnTo>
                    <a:pt x="3138" y="1489"/>
                  </a:lnTo>
                  <a:lnTo>
                    <a:pt x="3137" y="1483"/>
                  </a:lnTo>
                  <a:lnTo>
                    <a:pt x="3517" y="1483"/>
                  </a:lnTo>
                  <a:lnTo>
                    <a:pt x="3517" y="1444"/>
                  </a:lnTo>
                  <a:lnTo>
                    <a:pt x="3517" y="1426"/>
                  </a:lnTo>
                  <a:lnTo>
                    <a:pt x="3516" y="1409"/>
                  </a:lnTo>
                  <a:lnTo>
                    <a:pt x="3515" y="1393"/>
                  </a:lnTo>
                  <a:lnTo>
                    <a:pt x="3512" y="1376"/>
                  </a:lnTo>
                  <a:lnTo>
                    <a:pt x="3509" y="1362"/>
                  </a:lnTo>
                  <a:lnTo>
                    <a:pt x="3508" y="1354"/>
                  </a:lnTo>
                  <a:lnTo>
                    <a:pt x="3507" y="1346"/>
                  </a:lnTo>
                  <a:lnTo>
                    <a:pt x="3502" y="1332"/>
                  </a:lnTo>
                  <a:lnTo>
                    <a:pt x="3498" y="1318"/>
                  </a:lnTo>
                  <a:lnTo>
                    <a:pt x="3494" y="1305"/>
                  </a:lnTo>
                  <a:lnTo>
                    <a:pt x="3488" y="1293"/>
                  </a:lnTo>
                  <a:lnTo>
                    <a:pt x="3483" y="1281"/>
                  </a:lnTo>
                  <a:lnTo>
                    <a:pt x="3476" y="1269"/>
                  </a:lnTo>
                  <a:lnTo>
                    <a:pt x="3469" y="1259"/>
                  </a:lnTo>
                  <a:lnTo>
                    <a:pt x="3461" y="1248"/>
                  </a:lnTo>
                  <a:lnTo>
                    <a:pt x="3454" y="1239"/>
                  </a:lnTo>
                  <a:lnTo>
                    <a:pt x="3446" y="1229"/>
                  </a:lnTo>
                  <a:lnTo>
                    <a:pt x="3437" y="1222"/>
                  </a:lnTo>
                  <a:lnTo>
                    <a:pt x="3427" y="1214"/>
                  </a:lnTo>
                  <a:lnTo>
                    <a:pt x="3418" y="1206"/>
                  </a:lnTo>
                  <a:lnTo>
                    <a:pt x="3407" y="1199"/>
                  </a:lnTo>
                  <a:lnTo>
                    <a:pt x="3397" y="1193"/>
                  </a:lnTo>
                  <a:lnTo>
                    <a:pt x="3386" y="1187"/>
                  </a:lnTo>
                  <a:lnTo>
                    <a:pt x="3375" y="1182"/>
                  </a:lnTo>
                  <a:lnTo>
                    <a:pt x="3363" y="1177"/>
                  </a:lnTo>
                  <a:lnTo>
                    <a:pt x="3350" y="1173"/>
                  </a:lnTo>
                  <a:lnTo>
                    <a:pt x="3337" y="1169"/>
                  </a:lnTo>
                  <a:lnTo>
                    <a:pt x="3325" y="1167"/>
                  </a:lnTo>
                  <a:lnTo>
                    <a:pt x="3311" y="1164"/>
                  </a:lnTo>
                  <a:lnTo>
                    <a:pt x="3297" y="1163"/>
                  </a:lnTo>
                  <a:lnTo>
                    <a:pt x="3284" y="1161"/>
                  </a:lnTo>
                  <a:lnTo>
                    <a:pt x="3269" y="1161"/>
                  </a:lnTo>
                  <a:lnTo>
                    <a:pt x="3254" y="1160"/>
                  </a:lnTo>
                  <a:close/>
                  <a:moveTo>
                    <a:pt x="3248" y="1283"/>
                  </a:moveTo>
                  <a:lnTo>
                    <a:pt x="3258" y="1284"/>
                  </a:lnTo>
                  <a:lnTo>
                    <a:pt x="3268" y="1285"/>
                  </a:lnTo>
                  <a:lnTo>
                    <a:pt x="3278" y="1287"/>
                  </a:lnTo>
                  <a:lnTo>
                    <a:pt x="3287" y="1289"/>
                  </a:lnTo>
                  <a:lnTo>
                    <a:pt x="3296" y="1293"/>
                  </a:lnTo>
                  <a:lnTo>
                    <a:pt x="3305" y="1297"/>
                  </a:lnTo>
                  <a:lnTo>
                    <a:pt x="3311" y="1303"/>
                  </a:lnTo>
                  <a:lnTo>
                    <a:pt x="3319" y="1308"/>
                  </a:lnTo>
                  <a:lnTo>
                    <a:pt x="3323" y="1312"/>
                  </a:lnTo>
                  <a:lnTo>
                    <a:pt x="3326" y="1315"/>
                  </a:lnTo>
                  <a:lnTo>
                    <a:pt x="3331" y="1323"/>
                  </a:lnTo>
                  <a:lnTo>
                    <a:pt x="3336" y="1331"/>
                  </a:lnTo>
                  <a:lnTo>
                    <a:pt x="3340" y="1339"/>
                  </a:lnTo>
                  <a:lnTo>
                    <a:pt x="3344" y="1348"/>
                  </a:lnTo>
                  <a:lnTo>
                    <a:pt x="3347" y="1358"/>
                  </a:lnTo>
                  <a:lnTo>
                    <a:pt x="3348" y="1364"/>
                  </a:lnTo>
                  <a:lnTo>
                    <a:pt x="3348" y="1369"/>
                  </a:lnTo>
                  <a:lnTo>
                    <a:pt x="3349" y="1375"/>
                  </a:lnTo>
                  <a:lnTo>
                    <a:pt x="3349" y="1381"/>
                  </a:lnTo>
                  <a:lnTo>
                    <a:pt x="3138" y="1381"/>
                  </a:lnTo>
                  <a:lnTo>
                    <a:pt x="3139" y="1368"/>
                  </a:lnTo>
                  <a:lnTo>
                    <a:pt x="3143" y="1357"/>
                  </a:lnTo>
                  <a:lnTo>
                    <a:pt x="3146" y="1346"/>
                  </a:lnTo>
                  <a:lnTo>
                    <a:pt x="3150" y="1336"/>
                  </a:lnTo>
                  <a:lnTo>
                    <a:pt x="3153" y="1332"/>
                  </a:lnTo>
                  <a:lnTo>
                    <a:pt x="3155" y="1327"/>
                  </a:lnTo>
                  <a:lnTo>
                    <a:pt x="3160" y="1319"/>
                  </a:lnTo>
                  <a:lnTo>
                    <a:pt x="3167" y="1313"/>
                  </a:lnTo>
                  <a:lnTo>
                    <a:pt x="3174" y="1306"/>
                  </a:lnTo>
                  <a:lnTo>
                    <a:pt x="3181" y="1301"/>
                  </a:lnTo>
                  <a:lnTo>
                    <a:pt x="3189" y="1296"/>
                  </a:lnTo>
                  <a:lnTo>
                    <a:pt x="3198" y="1292"/>
                  </a:lnTo>
                  <a:lnTo>
                    <a:pt x="3207" y="1288"/>
                  </a:lnTo>
                  <a:lnTo>
                    <a:pt x="3217" y="1286"/>
                  </a:lnTo>
                  <a:lnTo>
                    <a:pt x="3227" y="1284"/>
                  </a:lnTo>
                  <a:lnTo>
                    <a:pt x="3237" y="1283"/>
                  </a:lnTo>
                  <a:lnTo>
                    <a:pt x="3248" y="1283"/>
                  </a:lnTo>
                  <a:close/>
                  <a:moveTo>
                    <a:pt x="292" y="601"/>
                  </a:moveTo>
                  <a:lnTo>
                    <a:pt x="292" y="614"/>
                  </a:lnTo>
                  <a:lnTo>
                    <a:pt x="292" y="626"/>
                  </a:lnTo>
                  <a:lnTo>
                    <a:pt x="290" y="651"/>
                  </a:lnTo>
                  <a:lnTo>
                    <a:pt x="288" y="662"/>
                  </a:lnTo>
                  <a:lnTo>
                    <a:pt x="286" y="672"/>
                  </a:lnTo>
                  <a:lnTo>
                    <a:pt x="283" y="683"/>
                  </a:lnTo>
                  <a:lnTo>
                    <a:pt x="280" y="693"/>
                  </a:lnTo>
                  <a:lnTo>
                    <a:pt x="277" y="702"/>
                  </a:lnTo>
                  <a:lnTo>
                    <a:pt x="273" y="712"/>
                  </a:lnTo>
                  <a:lnTo>
                    <a:pt x="269" y="721"/>
                  </a:lnTo>
                  <a:lnTo>
                    <a:pt x="265" y="729"/>
                  </a:lnTo>
                  <a:lnTo>
                    <a:pt x="259" y="736"/>
                  </a:lnTo>
                  <a:lnTo>
                    <a:pt x="253" y="744"/>
                  </a:lnTo>
                  <a:lnTo>
                    <a:pt x="248" y="751"/>
                  </a:lnTo>
                  <a:lnTo>
                    <a:pt x="242" y="757"/>
                  </a:lnTo>
                  <a:lnTo>
                    <a:pt x="236" y="763"/>
                  </a:lnTo>
                  <a:lnTo>
                    <a:pt x="228" y="770"/>
                  </a:lnTo>
                  <a:lnTo>
                    <a:pt x="221" y="774"/>
                  </a:lnTo>
                  <a:lnTo>
                    <a:pt x="213" y="780"/>
                  </a:lnTo>
                  <a:lnTo>
                    <a:pt x="205" y="784"/>
                  </a:lnTo>
                  <a:lnTo>
                    <a:pt x="196" y="789"/>
                  </a:lnTo>
                  <a:lnTo>
                    <a:pt x="187" y="792"/>
                  </a:lnTo>
                  <a:lnTo>
                    <a:pt x="178" y="795"/>
                  </a:lnTo>
                  <a:lnTo>
                    <a:pt x="168" y="797"/>
                  </a:lnTo>
                  <a:lnTo>
                    <a:pt x="157" y="801"/>
                  </a:lnTo>
                  <a:lnTo>
                    <a:pt x="147" y="803"/>
                  </a:lnTo>
                  <a:lnTo>
                    <a:pt x="136" y="804"/>
                  </a:lnTo>
                  <a:lnTo>
                    <a:pt x="123" y="805"/>
                  </a:lnTo>
                  <a:lnTo>
                    <a:pt x="111" y="806"/>
                  </a:lnTo>
                  <a:lnTo>
                    <a:pt x="99" y="807"/>
                  </a:lnTo>
                  <a:lnTo>
                    <a:pt x="86" y="807"/>
                  </a:lnTo>
                  <a:lnTo>
                    <a:pt x="29" y="807"/>
                  </a:lnTo>
                  <a:lnTo>
                    <a:pt x="29" y="641"/>
                  </a:lnTo>
                  <a:lnTo>
                    <a:pt x="68" y="641"/>
                  </a:lnTo>
                  <a:lnTo>
                    <a:pt x="78" y="640"/>
                  </a:lnTo>
                  <a:lnTo>
                    <a:pt x="82" y="639"/>
                  </a:lnTo>
                  <a:lnTo>
                    <a:pt x="87" y="637"/>
                  </a:lnTo>
                  <a:lnTo>
                    <a:pt x="91" y="635"/>
                  </a:lnTo>
                  <a:lnTo>
                    <a:pt x="96" y="633"/>
                  </a:lnTo>
                  <a:lnTo>
                    <a:pt x="99" y="630"/>
                  </a:lnTo>
                  <a:lnTo>
                    <a:pt x="102" y="626"/>
                  </a:lnTo>
                  <a:lnTo>
                    <a:pt x="108" y="619"/>
                  </a:lnTo>
                  <a:lnTo>
                    <a:pt x="110" y="614"/>
                  </a:lnTo>
                  <a:lnTo>
                    <a:pt x="111" y="610"/>
                  </a:lnTo>
                  <a:lnTo>
                    <a:pt x="112" y="604"/>
                  </a:lnTo>
                  <a:lnTo>
                    <a:pt x="113" y="597"/>
                  </a:lnTo>
                  <a:lnTo>
                    <a:pt x="115" y="591"/>
                  </a:lnTo>
                  <a:lnTo>
                    <a:pt x="115" y="584"/>
                  </a:lnTo>
                  <a:lnTo>
                    <a:pt x="115" y="0"/>
                  </a:lnTo>
                  <a:lnTo>
                    <a:pt x="292" y="0"/>
                  </a:lnTo>
                  <a:lnTo>
                    <a:pt x="292" y="601"/>
                  </a:lnTo>
                  <a:close/>
                  <a:moveTo>
                    <a:pt x="929" y="539"/>
                  </a:moveTo>
                  <a:lnTo>
                    <a:pt x="929" y="554"/>
                  </a:lnTo>
                  <a:lnTo>
                    <a:pt x="928" y="570"/>
                  </a:lnTo>
                  <a:lnTo>
                    <a:pt x="925" y="584"/>
                  </a:lnTo>
                  <a:lnTo>
                    <a:pt x="923" y="600"/>
                  </a:lnTo>
                  <a:lnTo>
                    <a:pt x="920" y="614"/>
                  </a:lnTo>
                  <a:lnTo>
                    <a:pt x="917" y="627"/>
                  </a:lnTo>
                  <a:lnTo>
                    <a:pt x="912" y="641"/>
                  </a:lnTo>
                  <a:lnTo>
                    <a:pt x="907" y="654"/>
                  </a:lnTo>
                  <a:lnTo>
                    <a:pt x="901" y="667"/>
                  </a:lnTo>
                  <a:lnTo>
                    <a:pt x="894" y="680"/>
                  </a:lnTo>
                  <a:lnTo>
                    <a:pt x="888" y="691"/>
                  </a:lnTo>
                  <a:lnTo>
                    <a:pt x="880" y="703"/>
                  </a:lnTo>
                  <a:lnTo>
                    <a:pt x="872" y="713"/>
                  </a:lnTo>
                  <a:lnTo>
                    <a:pt x="863" y="724"/>
                  </a:lnTo>
                  <a:lnTo>
                    <a:pt x="854" y="734"/>
                  </a:lnTo>
                  <a:lnTo>
                    <a:pt x="844" y="743"/>
                  </a:lnTo>
                  <a:lnTo>
                    <a:pt x="834" y="753"/>
                  </a:lnTo>
                  <a:lnTo>
                    <a:pt x="823" y="761"/>
                  </a:lnTo>
                  <a:lnTo>
                    <a:pt x="812" y="769"/>
                  </a:lnTo>
                  <a:lnTo>
                    <a:pt x="800" y="776"/>
                  </a:lnTo>
                  <a:lnTo>
                    <a:pt x="789" y="783"/>
                  </a:lnTo>
                  <a:lnTo>
                    <a:pt x="776" y="790"/>
                  </a:lnTo>
                  <a:lnTo>
                    <a:pt x="763" y="795"/>
                  </a:lnTo>
                  <a:lnTo>
                    <a:pt x="750" y="801"/>
                  </a:lnTo>
                  <a:lnTo>
                    <a:pt x="736" y="805"/>
                  </a:lnTo>
                  <a:lnTo>
                    <a:pt x="722" y="810"/>
                  </a:lnTo>
                  <a:lnTo>
                    <a:pt x="708" y="813"/>
                  </a:lnTo>
                  <a:lnTo>
                    <a:pt x="692" y="816"/>
                  </a:lnTo>
                  <a:lnTo>
                    <a:pt x="678" y="819"/>
                  </a:lnTo>
                  <a:lnTo>
                    <a:pt x="662" y="820"/>
                  </a:lnTo>
                  <a:lnTo>
                    <a:pt x="647" y="821"/>
                  </a:lnTo>
                  <a:lnTo>
                    <a:pt x="630" y="821"/>
                  </a:lnTo>
                  <a:lnTo>
                    <a:pt x="614" y="821"/>
                  </a:lnTo>
                  <a:lnTo>
                    <a:pt x="599" y="820"/>
                  </a:lnTo>
                  <a:lnTo>
                    <a:pt x="583" y="819"/>
                  </a:lnTo>
                  <a:lnTo>
                    <a:pt x="568" y="816"/>
                  </a:lnTo>
                  <a:lnTo>
                    <a:pt x="553" y="813"/>
                  </a:lnTo>
                  <a:lnTo>
                    <a:pt x="539" y="810"/>
                  </a:lnTo>
                  <a:lnTo>
                    <a:pt x="526" y="805"/>
                  </a:lnTo>
                  <a:lnTo>
                    <a:pt x="511" y="801"/>
                  </a:lnTo>
                  <a:lnTo>
                    <a:pt x="498" y="795"/>
                  </a:lnTo>
                  <a:lnTo>
                    <a:pt x="486" y="790"/>
                  </a:lnTo>
                  <a:lnTo>
                    <a:pt x="473" y="783"/>
                  </a:lnTo>
                  <a:lnTo>
                    <a:pt x="461" y="776"/>
                  </a:lnTo>
                  <a:lnTo>
                    <a:pt x="449" y="769"/>
                  </a:lnTo>
                  <a:lnTo>
                    <a:pt x="438" y="761"/>
                  </a:lnTo>
                  <a:lnTo>
                    <a:pt x="428" y="753"/>
                  </a:lnTo>
                  <a:lnTo>
                    <a:pt x="417" y="743"/>
                  </a:lnTo>
                  <a:lnTo>
                    <a:pt x="408" y="734"/>
                  </a:lnTo>
                  <a:lnTo>
                    <a:pt x="398" y="724"/>
                  </a:lnTo>
                  <a:lnTo>
                    <a:pt x="390" y="713"/>
                  </a:lnTo>
                  <a:lnTo>
                    <a:pt x="381" y="703"/>
                  </a:lnTo>
                  <a:lnTo>
                    <a:pt x="375" y="691"/>
                  </a:lnTo>
                  <a:lnTo>
                    <a:pt x="367" y="680"/>
                  </a:lnTo>
                  <a:lnTo>
                    <a:pt x="361" y="667"/>
                  </a:lnTo>
                  <a:lnTo>
                    <a:pt x="355" y="654"/>
                  </a:lnTo>
                  <a:lnTo>
                    <a:pt x="350" y="641"/>
                  </a:lnTo>
                  <a:lnTo>
                    <a:pt x="346" y="627"/>
                  </a:lnTo>
                  <a:lnTo>
                    <a:pt x="341" y="614"/>
                  </a:lnTo>
                  <a:lnTo>
                    <a:pt x="338" y="600"/>
                  </a:lnTo>
                  <a:lnTo>
                    <a:pt x="336" y="584"/>
                  </a:lnTo>
                  <a:lnTo>
                    <a:pt x="335" y="570"/>
                  </a:lnTo>
                  <a:lnTo>
                    <a:pt x="333" y="554"/>
                  </a:lnTo>
                  <a:lnTo>
                    <a:pt x="332" y="539"/>
                  </a:lnTo>
                  <a:lnTo>
                    <a:pt x="333" y="523"/>
                  </a:lnTo>
                  <a:lnTo>
                    <a:pt x="335" y="508"/>
                  </a:lnTo>
                  <a:lnTo>
                    <a:pt x="336" y="492"/>
                  </a:lnTo>
                  <a:lnTo>
                    <a:pt x="338" y="478"/>
                  </a:lnTo>
                  <a:lnTo>
                    <a:pt x="341" y="463"/>
                  </a:lnTo>
                  <a:lnTo>
                    <a:pt x="346" y="449"/>
                  </a:lnTo>
                  <a:lnTo>
                    <a:pt x="350" y="435"/>
                  </a:lnTo>
                  <a:lnTo>
                    <a:pt x="355" y="422"/>
                  </a:lnTo>
                  <a:lnTo>
                    <a:pt x="361" y="410"/>
                  </a:lnTo>
                  <a:lnTo>
                    <a:pt x="367" y="398"/>
                  </a:lnTo>
                  <a:lnTo>
                    <a:pt x="375" y="385"/>
                  </a:lnTo>
                  <a:lnTo>
                    <a:pt x="381" y="374"/>
                  </a:lnTo>
                  <a:lnTo>
                    <a:pt x="390" y="363"/>
                  </a:lnTo>
                  <a:lnTo>
                    <a:pt x="398" y="353"/>
                  </a:lnTo>
                  <a:lnTo>
                    <a:pt x="408" y="343"/>
                  </a:lnTo>
                  <a:lnTo>
                    <a:pt x="417" y="333"/>
                  </a:lnTo>
                  <a:lnTo>
                    <a:pt x="428" y="324"/>
                  </a:lnTo>
                  <a:lnTo>
                    <a:pt x="438" y="315"/>
                  </a:lnTo>
                  <a:lnTo>
                    <a:pt x="449" y="308"/>
                  </a:lnTo>
                  <a:lnTo>
                    <a:pt x="461" y="300"/>
                  </a:lnTo>
                  <a:lnTo>
                    <a:pt x="473" y="293"/>
                  </a:lnTo>
                  <a:lnTo>
                    <a:pt x="486" y="288"/>
                  </a:lnTo>
                  <a:lnTo>
                    <a:pt x="498" y="281"/>
                  </a:lnTo>
                  <a:lnTo>
                    <a:pt x="511" y="276"/>
                  </a:lnTo>
                  <a:lnTo>
                    <a:pt x="526" y="271"/>
                  </a:lnTo>
                  <a:lnTo>
                    <a:pt x="539" y="268"/>
                  </a:lnTo>
                  <a:lnTo>
                    <a:pt x="553" y="264"/>
                  </a:lnTo>
                  <a:lnTo>
                    <a:pt x="568" y="261"/>
                  </a:lnTo>
                  <a:lnTo>
                    <a:pt x="583" y="259"/>
                  </a:lnTo>
                  <a:lnTo>
                    <a:pt x="599" y="258"/>
                  </a:lnTo>
                  <a:lnTo>
                    <a:pt x="614" y="256"/>
                  </a:lnTo>
                  <a:lnTo>
                    <a:pt x="630" y="255"/>
                  </a:lnTo>
                  <a:lnTo>
                    <a:pt x="647" y="256"/>
                  </a:lnTo>
                  <a:lnTo>
                    <a:pt x="662" y="258"/>
                  </a:lnTo>
                  <a:lnTo>
                    <a:pt x="678" y="259"/>
                  </a:lnTo>
                  <a:lnTo>
                    <a:pt x="692" y="261"/>
                  </a:lnTo>
                  <a:lnTo>
                    <a:pt x="708" y="264"/>
                  </a:lnTo>
                  <a:lnTo>
                    <a:pt x="722" y="268"/>
                  </a:lnTo>
                  <a:lnTo>
                    <a:pt x="736" y="271"/>
                  </a:lnTo>
                  <a:lnTo>
                    <a:pt x="750" y="276"/>
                  </a:lnTo>
                  <a:lnTo>
                    <a:pt x="763" y="281"/>
                  </a:lnTo>
                  <a:lnTo>
                    <a:pt x="776" y="288"/>
                  </a:lnTo>
                  <a:lnTo>
                    <a:pt x="789" y="293"/>
                  </a:lnTo>
                  <a:lnTo>
                    <a:pt x="800" y="300"/>
                  </a:lnTo>
                  <a:lnTo>
                    <a:pt x="812" y="308"/>
                  </a:lnTo>
                  <a:lnTo>
                    <a:pt x="823" y="315"/>
                  </a:lnTo>
                  <a:lnTo>
                    <a:pt x="834" y="324"/>
                  </a:lnTo>
                  <a:lnTo>
                    <a:pt x="844" y="333"/>
                  </a:lnTo>
                  <a:lnTo>
                    <a:pt x="854" y="343"/>
                  </a:lnTo>
                  <a:lnTo>
                    <a:pt x="863" y="353"/>
                  </a:lnTo>
                  <a:lnTo>
                    <a:pt x="872" y="363"/>
                  </a:lnTo>
                  <a:lnTo>
                    <a:pt x="880" y="374"/>
                  </a:lnTo>
                  <a:lnTo>
                    <a:pt x="888" y="385"/>
                  </a:lnTo>
                  <a:lnTo>
                    <a:pt x="894" y="398"/>
                  </a:lnTo>
                  <a:lnTo>
                    <a:pt x="901" y="410"/>
                  </a:lnTo>
                  <a:lnTo>
                    <a:pt x="907" y="422"/>
                  </a:lnTo>
                  <a:lnTo>
                    <a:pt x="912" y="435"/>
                  </a:lnTo>
                  <a:lnTo>
                    <a:pt x="917" y="449"/>
                  </a:lnTo>
                  <a:lnTo>
                    <a:pt x="920" y="463"/>
                  </a:lnTo>
                  <a:lnTo>
                    <a:pt x="923" y="478"/>
                  </a:lnTo>
                  <a:lnTo>
                    <a:pt x="925" y="492"/>
                  </a:lnTo>
                  <a:lnTo>
                    <a:pt x="928" y="508"/>
                  </a:lnTo>
                  <a:lnTo>
                    <a:pt x="929" y="523"/>
                  </a:lnTo>
                  <a:lnTo>
                    <a:pt x="929" y="539"/>
                  </a:lnTo>
                  <a:close/>
                  <a:moveTo>
                    <a:pt x="506" y="539"/>
                  </a:moveTo>
                  <a:lnTo>
                    <a:pt x="507" y="552"/>
                  </a:lnTo>
                  <a:lnTo>
                    <a:pt x="509" y="565"/>
                  </a:lnTo>
                  <a:lnTo>
                    <a:pt x="511" y="577"/>
                  </a:lnTo>
                  <a:lnTo>
                    <a:pt x="513" y="584"/>
                  </a:lnTo>
                  <a:lnTo>
                    <a:pt x="516" y="590"/>
                  </a:lnTo>
                  <a:lnTo>
                    <a:pt x="521" y="601"/>
                  </a:lnTo>
                  <a:lnTo>
                    <a:pt x="527" y="611"/>
                  </a:lnTo>
                  <a:lnTo>
                    <a:pt x="534" y="621"/>
                  </a:lnTo>
                  <a:lnTo>
                    <a:pt x="542" y="629"/>
                  </a:lnTo>
                  <a:lnTo>
                    <a:pt x="547" y="633"/>
                  </a:lnTo>
                  <a:lnTo>
                    <a:pt x="551" y="636"/>
                  </a:lnTo>
                  <a:lnTo>
                    <a:pt x="556" y="640"/>
                  </a:lnTo>
                  <a:lnTo>
                    <a:pt x="561" y="643"/>
                  </a:lnTo>
                  <a:lnTo>
                    <a:pt x="571" y="649"/>
                  </a:lnTo>
                  <a:lnTo>
                    <a:pt x="582" y="654"/>
                  </a:lnTo>
                  <a:lnTo>
                    <a:pt x="593" y="657"/>
                  </a:lnTo>
                  <a:lnTo>
                    <a:pt x="606" y="661"/>
                  </a:lnTo>
                  <a:lnTo>
                    <a:pt x="611" y="661"/>
                  </a:lnTo>
                  <a:lnTo>
                    <a:pt x="618" y="662"/>
                  </a:lnTo>
                  <a:lnTo>
                    <a:pt x="630" y="663"/>
                  </a:lnTo>
                  <a:lnTo>
                    <a:pt x="643" y="662"/>
                  </a:lnTo>
                  <a:lnTo>
                    <a:pt x="656" y="661"/>
                  </a:lnTo>
                  <a:lnTo>
                    <a:pt x="668" y="657"/>
                  </a:lnTo>
                  <a:lnTo>
                    <a:pt x="673" y="656"/>
                  </a:lnTo>
                  <a:lnTo>
                    <a:pt x="679" y="654"/>
                  </a:lnTo>
                  <a:lnTo>
                    <a:pt x="690" y="649"/>
                  </a:lnTo>
                  <a:lnTo>
                    <a:pt x="696" y="646"/>
                  </a:lnTo>
                  <a:lnTo>
                    <a:pt x="700" y="643"/>
                  </a:lnTo>
                  <a:lnTo>
                    <a:pt x="706" y="640"/>
                  </a:lnTo>
                  <a:lnTo>
                    <a:pt x="710" y="636"/>
                  </a:lnTo>
                  <a:lnTo>
                    <a:pt x="719" y="629"/>
                  </a:lnTo>
                  <a:lnTo>
                    <a:pt x="727" y="621"/>
                  </a:lnTo>
                  <a:lnTo>
                    <a:pt x="733" y="611"/>
                  </a:lnTo>
                  <a:lnTo>
                    <a:pt x="740" y="601"/>
                  </a:lnTo>
                  <a:lnTo>
                    <a:pt x="742" y="595"/>
                  </a:lnTo>
                  <a:lnTo>
                    <a:pt x="744" y="590"/>
                  </a:lnTo>
                  <a:lnTo>
                    <a:pt x="749" y="577"/>
                  </a:lnTo>
                  <a:lnTo>
                    <a:pt x="752" y="565"/>
                  </a:lnTo>
                  <a:lnTo>
                    <a:pt x="753" y="552"/>
                  </a:lnTo>
                  <a:lnTo>
                    <a:pt x="754" y="539"/>
                  </a:lnTo>
                  <a:lnTo>
                    <a:pt x="753" y="524"/>
                  </a:lnTo>
                  <a:lnTo>
                    <a:pt x="753" y="517"/>
                  </a:lnTo>
                  <a:lnTo>
                    <a:pt x="752" y="511"/>
                  </a:lnTo>
                  <a:lnTo>
                    <a:pt x="749" y="499"/>
                  </a:lnTo>
                  <a:lnTo>
                    <a:pt x="747" y="493"/>
                  </a:lnTo>
                  <a:lnTo>
                    <a:pt x="744" y="488"/>
                  </a:lnTo>
                  <a:lnTo>
                    <a:pt x="740" y="476"/>
                  </a:lnTo>
                  <a:lnTo>
                    <a:pt x="733" y="465"/>
                  </a:lnTo>
                  <a:lnTo>
                    <a:pt x="727" y="456"/>
                  </a:lnTo>
                  <a:lnTo>
                    <a:pt x="719" y="448"/>
                  </a:lnTo>
                  <a:lnTo>
                    <a:pt x="714" y="444"/>
                  </a:lnTo>
                  <a:lnTo>
                    <a:pt x="710" y="440"/>
                  </a:lnTo>
                  <a:lnTo>
                    <a:pt x="706" y="436"/>
                  </a:lnTo>
                  <a:lnTo>
                    <a:pt x="700" y="433"/>
                  </a:lnTo>
                  <a:lnTo>
                    <a:pt x="690" y="428"/>
                  </a:lnTo>
                  <a:lnTo>
                    <a:pt x="679" y="423"/>
                  </a:lnTo>
                  <a:lnTo>
                    <a:pt x="668" y="420"/>
                  </a:lnTo>
                  <a:lnTo>
                    <a:pt x="656" y="416"/>
                  </a:lnTo>
                  <a:lnTo>
                    <a:pt x="643" y="415"/>
                  </a:lnTo>
                  <a:lnTo>
                    <a:pt x="630" y="414"/>
                  </a:lnTo>
                  <a:lnTo>
                    <a:pt x="618" y="415"/>
                  </a:lnTo>
                  <a:lnTo>
                    <a:pt x="606" y="416"/>
                  </a:lnTo>
                  <a:lnTo>
                    <a:pt x="593" y="420"/>
                  </a:lnTo>
                  <a:lnTo>
                    <a:pt x="588" y="421"/>
                  </a:lnTo>
                  <a:lnTo>
                    <a:pt x="582" y="423"/>
                  </a:lnTo>
                  <a:lnTo>
                    <a:pt x="571" y="428"/>
                  </a:lnTo>
                  <a:lnTo>
                    <a:pt x="566" y="431"/>
                  </a:lnTo>
                  <a:lnTo>
                    <a:pt x="561" y="433"/>
                  </a:lnTo>
                  <a:lnTo>
                    <a:pt x="556" y="436"/>
                  </a:lnTo>
                  <a:lnTo>
                    <a:pt x="551" y="440"/>
                  </a:lnTo>
                  <a:lnTo>
                    <a:pt x="542" y="448"/>
                  </a:lnTo>
                  <a:lnTo>
                    <a:pt x="534" y="456"/>
                  </a:lnTo>
                  <a:lnTo>
                    <a:pt x="527" y="465"/>
                  </a:lnTo>
                  <a:lnTo>
                    <a:pt x="521" y="476"/>
                  </a:lnTo>
                  <a:lnTo>
                    <a:pt x="516" y="488"/>
                  </a:lnTo>
                  <a:lnTo>
                    <a:pt x="511" y="499"/>
                  </a:lnTo>
                  <a:lnTo>
                    <a:pt x="509" y="511"/>
                  </a:lnTo>
                  <a:lnTo>
                    <a:pt x="507" y="524"/>
                  </a:lnTo>
                  <a:lnTo>
                    <a:pt x="507" y="531"/>
                  </a:lnTo>
                  <a:lnTo>
                    <a:pt x="506" y="539"/>
                  </a:lnTo>
                  <a:close/>
                  <a:moveTo>
                    <a:pt x="1145" y="175"/>
                  </a:moveTo>
                  <a:lnTo>
                    <a:pt x="959" y="175"/>
                  </a:lnTo>
                  <a:lnTo>
                    <a:pt x="959" y="1"/>
                  </a:lnTo>
                  <a:lnTo>
                    <a:pt x="1145" y="1"/>
                  </a:lnTo>
                  <a:lnTo>
                    <a:pt x="1145" y="175"/>
                  </a:lnTo>
                  <a:close/>
                  <a:moveTo>
                    <a:pt x="965" y="273"/>
                  </a:moveTo>
                  <a:lnTo>
                    <a:pt x="1139" y="273"/>
                  </a:lnTo>
                  <a:lnTo>
                    <a:pt x="1139" y="804"/>
                  </a:lnTo>
                  <a:lnTo>
                    <a:pt x="965" y="804"/>
                  </a:lnTo>
                  <a:lnTo>
                    <a:pt x="965" y="273"/>
                  </a:lnTo>
                  <a:close/>
                  <a:moveTo>
                    <a:pt x="1750" y="475"/>
                  </a:moveTo>
                  <a:lnTo>
                    <a:pt x="1750" y="804"/>
                  </a:lnTo>
                  <a:lnTo>
                    <a:pt x="1578" y="804"/>
                  </a:lnTo>
                  <a:lnTo>
                    <a:pt x="1578" y="523"/>
                  </a:lnTo>
                  <a:lnTo>
                    <a:pt x="1576" y="509"/>
                  </a:lnTo>
                  <a:lnTo>
                    <a:pt x="1575" y="495"/>
                  </a:lnTo>
                  <a:lnTo>
                    <a:pt x="1573" y="483"/>
                  </a:lnTo>
                  <a:lnTo>
                    <a:pt x="1571" y="472"/>
                  </a:lnTo>
                  <a:lnTo>
                    <a:pt x="1568" y="462"/>
                  </a:lnTo>
                  <a:lnTo>
                    <a:pt x="1563" y="452"/>
                  </a:lnTo>
                  <a:lnTo>
                    <a:pt x="1559" y="444"/>
                  </a:lnTo>
                  <a:lnTo>
                    <a:pt x="1555" y="440"/>
                  </a:lnTo>
                  <a:lnTo>
                    <a:pt x="1552" y="436"/>
                  </a:lnTo>
                  <a:lnTo>
                    <a:pt x="1546" y="430"/>
                  </a:lnTo>
                  <a:lnTo>
                    <a:pt x="1539" y="424"/>
                  </a:lnTo>
                  <a:lnTo>
                    <a:pt x="1531" y="420"/>
                  </a:lnTo>
                  <a:lnTo>
                    <a:pt x="1522" y="415"/>
                  </a:lnTo>
                  <a:lnTo>
                    <a:pt x="1512" y="412"/>
                  </a:lnTo>
                  <a:lnTo>
                    <a:pt x="1502" y="410"/>
                  </a:lnTo>
                  <a:lnTo>
                    <a:pt x="1491" y="409"/>
                  </a:lnTo>
                  <a:lnTo>
                    <a:pt x="1480" y="409"/>
                  </a:lnTo>
                  <a:lnTo>
                    <a:pt x="1469" y="409"/>
                  </a:lnTo>
                  <a:lnTo>
                    <a:pt x="1463" y="410"/>
                  </a:lnTo>
                  <a:lnTo>
                    <a:pt x="1459" y="410"/>
                  </a:lnTo>
                  <a:lnTo>
                    <a:pt x="1449" y="412"/>
                  </a:lnTo>
                  <a:lnTo>
                    <a:pt x="1439" y="415"/>
                  </a:lnTo>
                  <a:lnTo>
                    <a:pt x="1430" y="420"/>
                  </a:lnTo>
                  <a:lnTo>
                    <a:pt x="1425" y="422"/>
                  </a:lnTo>
                  <a:lnTo>
                    <a:pt x="1421" y="424"/>
                  </a:lnTo>
                  <a:lnTo>
                    <a:pt x="1413" y="431"/>
                  </a:lnTo>
                  <a:lnTo>
                    <a:pt x="1410" y="434"/>
                  </a:lnTo>
                  <a:lnTo>
                    <a:pt x="1406" y="438"/>
                  </a:lnTo>
                  <a:lnTo>
                    <a:pt x="1403" y="442"/>
                  </a:lnTo>
                  <a:lnTo>
                    <a:pt x="1400" y="445"/>
                  </a:lnTo>
                  <a:lnTo>
                    <a:pt x="1394" y="455"/>
                  </a:lnTo>
                  <a:lnTo>
                    <a:pt x="1389" y="465"/>
                  </a:lnTo>
                  <a:lnTo>
                    <a:pt x="1386" y="471"/>
                  </a:lnTo>
                  <a:lnTo>
                    <a:pt x="1385" y="478"/>
                  </a:lnTo>
                  <a:lnTo>
                    <a:pt x="1383" y="484"/>
                  </a:lnTo>
                  <a:lnTo>
                    <a:pt x="1382" y="491"/>
                  </a:lnTo>
                  <a:lnTo>
                    <a:pt x="1379" y="504"/>
                  </a:lnTo>
                  <a:lnTo>
                    <a:pt x="1378" y="520"/>
                  </a:lnTo>
                  <a:lnTo>
                    <a:pt x="1378" y="537"/>
                  </a:lnTo>
                  <a:lnTo>
                    <a:pt x="1378" y="804"/>
                  </a:lnTo>
                  <a:lnTo>
                    <a:pt x="1203" y="804"/>
                  </a:lnTo>
                  <a:lnTo>
                    <a:pt x="1203" y="273"/>
                  </a:lnTo>
                  <a:lnTo>
                    <a:pt x="1374" y="273"/>
                  </a:lnTo>
                  <a:lnTo>
                    <a:pt x="1374" y="353"/>
                  </a:lnTo>
                  <a:lnTo>
                    <a:pt x="1376" y="353"/>
                  </a:lnTo>
                  <a:lnTo>
                    <a:pt x="1383" y="342"/>
                  </a:lnTo>
                  <a:lnTo>
                    <a:pt x="1391" y="331"/>
                  </a:lnTo>
                  <a:lnTo>
                    <a:pt x="1400" y="321"/>
                  </a:lnTo>
                  <a:lnTo>
                    <a:pt x="1409" y="312"/>
                  </a:lnTo>
                  <a:lnTo>
                    <a:pt x="1418" y="303"/>
                  </a:lnTo>
                  <a:lnTo>
                    <a:pt x="1422" y="299"/>
                  </a:lnTo>
                  <a:lnTo>
                    <a:pt x="1428" y="295"/>
                  </a:lnTo>
                  <a:lnTo>
                    <a:pt x="1438" y="288"/>
                  </a:lnTo>
                  <a:lnTo>
                    <a:pt x="1449" y="281"/>
                  </a:lnTo>
                  <a:lnTo>
                    <a:pt x="1460" y="275"/>
                  </a:lnTo>
                  <a:lnTo>
                    <a:pt x="1472" y="270"/>
                  </a:lnTo>
                  <a:lnTo>
                    <a:pt x="1483" y="265"/>
                  </a:lnTo>
                  <a:lnTo>
                    <a:pt x="1496" y="262"/>
                  </a:lnTo>
                  <a:lnTo>
                    <a:pt x="1509" y="260"/>
                  </a:lnTo>
                  <a:lnTo>
                    <a:pt x="1522" y="258"/>
                  </a:lnTo>
                  <a:lnTo>
                    <a:pt x="1535" y="256"/>
                  </a:lnTo>
                  <a:lnTo>
                    <a:pt x="1550" y="255"/>
                  </a:lnTo>
                  <a:lnTo>
                    <a:pt x="1571" y="256"/>
                  </a:lnTo>
                  <a:lnTo>
                    <a:pt x="1582" y="258"/>
                  </a:lnTo>
                  <a:lnTo>
                    <a:pt x="1592" y="259"/>
                  </a:lnTo>
                  <a:lnTo>
                    <a:pt x="1602" y="261"/>
                  </a:lnTo>
                  <a:lnTo>
                    <a:pt x="1612" y="263"/>
                  </a:lnTo>
                  <a:lnTo>
                    <a:pt x="1621" y="265"/>
                  </a:lnTo>
                  <a:lnTo>
                    <a:pt x="1630" y="269"/>
                  </a:lnTo>
                  <a:lnTo>
                    <a:pt x="1640" y="272"/>
                  </a:lnTo>
                  <a:lnTo>
                    <a:pt x="1647" y="276"/>
                  </a:lnTo>
                  <a:lnTo>
                    <a:pt x="1656" y="281"/>
                  </a:lnTo>
                  <a:lnTo>
                    <a:pt x="1664" y="285"/>
                  </a:lnTo>
                  <a:lnTo>
                    <a:pt x="1672" y="291"/>
                  </a:lnTo>
                  <a:lnTo>
                    <a:pt x="1680" y="296"/>
                  </a:lnTo>
                  <a:lnTo>
                    <a:pt x="1686" y="302"/>
                  </a:lnTo>
                  <a:lnTo>
                    <a:pt x="1693" y="309"/>
                  </a:lnTo>
                  <a:lnTo>
                    <a:pt x="1700" y="315"/>
                  </a:lnTo>
                  <a:lnTo>
                    <a:pt x="1706" y="323"/>
                  </a:lnTo>
                  <a:lnTo>
                    <a:pt x="1712" y="331"/>
                  </a:lnTo>
                  <a:lnTo>
                    <a:pt x="1717" y="339"/>
                  </a:lnTo>
                  <a:lnTo>
                    <a:pt x="1722" y="348"/>
                  </a:lnTo>
                  <a:lnTo>
                    <a:pt x="1726" y="358"/>
                  </a:lnTo>
                  <a:lnTo>
                    <a:pt x="1731" y="366"/>
                  </a:lnTo>
                  <a:lnTo>
                    <a:pt x="1735" y="376"/>
                  </a:lnTo>
                  <a:lnTo>
                    <a:pt x="1739" y="388"/>
                  </a:lnTo>
                  <a:lnTo>
                    <a:pt x="1741" y="399"/>
                  </a:lnTo>
                  <a:lnTo>
                    <a:pt x="1744" y="410"/>
                  </a:lnTo>
                  <a:lnTo>
                    <a:pt x="1745" y="422"/>
                  </a:lnTo>
                  <a:lnTo>
                    <a:pt x="1747" y="434"/>
                  </a:lnTo>
                  <a:lnTo>
                    <a:pt x="1749" y="448"/>
                  </a:lnTo>
                  <a:lnTo>
                    <a:pt x="1750" y="461"/>
                  </a:lnTo>
                  <a:lnTo>
                    <a:pt x="1750" y="475"/>
                  </a:lnTo>
                  <a:close/>
                  <a:moveTo>
                    <a:pt x="2235" y="418"/>
                  </a:moveTo>
                  <a:lnTo>
                    <a:pt x="2235" y="577"/>
                  </a:lnTo>
                  <a:lnTo>
                    <a:pt x="2236" y="594"/>
                  </a:lnTo>
                  <a:lnTo>
                    <a:pt x="2238" y="609"/>
                  </a:lnTo>
                  <a:lnTo>
                    <a:pt x="2240" y="614"/>
                  </a:lnTo>
                  <a:lnTo>
                    <a:pt x="2242" y="620"/>
                  </a:lnTo>
                  <a:lnTo>
                    <a:pt x="2244" y="624"/>
                  </a:lnTo>
                  <a:lnTo>
                    <a:pt x="2247" y="629"/>
                  </a:lnTo>
                  <a:lnTo>
                    <a:pt x="2251" y="632"/>
                  </a:lnTo>
                  <a:lnTo>
                    <a:pt x="2255" y="635"/>
                  </a:lnTo>
                  <a:lnTo>
                    <a:pt x="2260" y="637"/>
                  </a:lnTo>
                  <a:lnTo>
                    <a:pt x="2265" y="640"/>
                  </a:lnTo>
                  <a:lnTo>
                    <a:pt x="2271" y="641"/>
                  </a:lnTo>
                  <a:lnTo>
                    <a:pt x="2277" y="642"/>
                  </a:lnTo>
                  <a:lnTo>
                    <a:pt x="2285" y="643"/>
                  </a:lnTo>
                  <a:lnTo>
                    <a:pt x="2293" y="643"/>
                  </a:lnTo>
                  <a:lnTo>
                    <a:pt x="2313" y="643"/>
                  </a:lnTo>
                  <a:lnTo>
                    <a:pt x="2313" y="804"/>
                  </a:lnTo>
                  <a:lnTo>
                    <a:pt x="2240" y="804"/>
                  </a:lnTo>
                  <a:lnTo>
                    <a:pt x="2221" y="803"/>
                  </a:lnTo>
                  <a:lnTo>
                    <a:pt x="2211" y="803"/>
                  </a:lnTo>
                  <a:lnTo>
                    <a:pt x="2202" y="802"/>
                  </a:lnTo>
                  <a:lnTo>
                    <a:pt x="2184" y="799"/>
                  </a:lnTo>
                  <a:lnTo>
                    <a:pt x="2166" y="794"/>
                  </a:lnTo>
                  <a:lnTo>
                    <a:pt x="2158" y="791"/>
                  </a:lnTo>
                  <a:lnTo>
                    <a:pt x="2151" y="787"/>
                  </a:lnTo>
                  <a:lnTo>
                    <a:pt x="2143" y="784"/>
                  </a:lnTo>
                  <a:lnTo>
                    <a:pt x="2136" y="781"/>
                  </a:lnTo>
                  <a:lnTo>
                    <a:pt x="2130" y="776"/>
                  </a:lnTo>
                  <a:lnTo>
                    <a:pt x="2123" y="772"/>
                  </a:lnTo>
                  <a:lnTo>
                    <a:pt x="2116" y="767"/>
                  </a:lnTo>
                  <a:lnTo>
                    <a:pt x="2111" y="762"/>
                  </a:lnTo>
                  <a:lnTo>
                    <a:pt x="2105" y="756"/>
                  </a:lnTo>
                  <a:lnTo>
                    <a:pt x="2100" y="751"/>
                  </a:lnTo>
                  <a:lnTo>
                    <a:pt x="2090" y="737"/>
                  </a:lnTo>
                  <a:lnTo>
                    <a:pt x="2085" y="730"/>
                  </a:lnTo>
                  <a:lnTo>
                    <a:pt x="2082" y="723"/>
                  </a:lnTo>
                  <a:lnTo>
                    <a:pt x="2075" y="706"/>
                  </a:lnTo>
                  <a:lnTo>
                    <a:pt x="2070" y="689"/>
                  </a:lnTo>
                  <a:lnTo>
                    <a:pt x="2067" y="679"/>
                  </a:lnTo>
                  <a:lnTo>
                    <a:pt x="2065" y="669"/>
                  </a:lnTo>
                  <a:lnTo>
                    <a:pt x="2064" y="659"/>
                  </a:lnTo>
                  <a:lnTo>
                    <a:pt x="2063" y="647"/>
                  </a:lnTo>
                  <a:lnTo>
                    <a:pt x="2062" y="636"/>
                  </a:lnTo>
                  <a:lnTo>
                    <a:pt x="2062" y="624"/>
                  </a:lnTo>
                  <a:lnTo>
                    <a:pt x="2062" y="418"/>
                  </a:lnTo>
                  <a:lnTo>
                    <a:pt x="1959" y="418"/>
                  </a:lnTo>
                  <a:lnTo>
                    <a:pt x="1959" y="273"/>
                  </a:lnTo>
                  <a:lnTo>
                    <a:pt x="2062" y="273"/>
                  </a:lnTo>
                  <a:lnTo>
                    <a:pt x="2062" y="60"/>
                  </a:lnTo>
                  <a:lnTo>
                    <a:pt x="2235" y="60"/>
                  </a:lnTo>
                  <a:lnTo>
                    <a:pt x="2235" y="273"/>
                  </a:lnTo>
                  <a:lnTo>
                    <a:pt x="2345" y="273"/>
                  </a:lnTo>
                  <a:lnTo>
                    <a:pt x="2345" y="418"/>
                  </a:lnTo>
                  <a:lnTo>
                    <a:pt x="2235" y="418"/>
                  </a:lnTo>
                  <a:close/>
                  <a:moveTo>
                    <a:pt x="2556" y="343"/>
                  </a:moveTo>
                  <a:lnTo>
                    <a:pt x="2558" y="343"/>
                  </a:lnTo>
                  <a:lnTo>
                    <a:pt x="2565" y="333"/>
                  </a:lnTo>
                  <a:lnTo>
                    <a:pt x="2573" y="323"/>
                  </a:lnTo>
                  <a:lnTo>
                    <a:pt x="2581" y="314"/>
                  </a:lnTo>
                  <a:lnTo>
                    <a:pt x="2585" y="310"/>
                  </a:lnTo>
                  <a:lnTo>
                    <a:pt x="2589" y="305"/>
                  </a:lnTo>
                  <a:lnTo>
                    <a:pt x="2598" y="298"/>
                  </a:lnTo>
                  <a:lnTo>
                    <a:pt x="2608" y="291"/>
                  </a:lnTo>
                  <a:lnTo>
                    <a:pt x="2618" y="284"/>
                  </a:lnTo>
                  <a:lnTo>
                    <a:pt x="2628" y="279"/>
                  </a:lnTo>
                  <a:lnTo>
                    <a:pt x="2639" y="273"/>
                  </a:lnTo>
                  <a:lnTo>
                    <a:pt x="2651" y="269"/>
                  </a:lnTo>
                  <a:lnTo>
                    <a:pt x="2663" y="264"/>
                  </a:lnTo>
                  <a:lnTo>
                    <a:pt x="2675" y="261"/>
                  </a:lnTo>
                  <a:lnTo>
                    <a:pt x="2687" y="259"/>
                  </a:lnTo>
                  <a:lnTo>
                    <a:pt x="2694" y="258"/>
                  </a:lnTo>
                  <a:lnTo>
                    <a:pt x="2701" y="258"/>
                  </a:lnTo>
                  <a:lnTo>
                    <a:pt x="2714" y="256"/>
                  </a:lnTo>
                  <a:lnTo>
                    <a:pt x="2728" y="255"/>
                  </a:lnTo>
                  <a:lnTo>
                    <a:pt x="2749" y="256"/>
                  </a:lnTo>
                  <a:lnTo>
                    <a:pt x="2760" y="258"/>
                  </a:lnTo>
                  <a:lnTo>
                    <a:pt x="2770" y="259"/>
                  </a:lnTo>
                  <a:lnTo>
                    <a:pt x="2780" y="261"/>
                  </a:lnTo>
                  <a:lnTo>
                    <a:pt x="2790" y="263"/>
                  </a:lnTo>
                  <a:lnTo>
                    <a:pt x="2799" y="265"/>
                  </a:lnTo>
                  <a:lnTo>
                    <a:pt x="2809" y="269"/>
                  </a:lnTo>
                  <a:lnTo>
                    <a:pt x="2818" y="272"/>
                  </a:lnTo>
                  <a:lnTo>
                    <a:pt x="2826" y="276"/>
                  </a:lnTo>
                  <a:lnTo>
                    <a:pt x="2835" y="281"/>
                  </a:lnTo>
                  <a:lnTo>
                    <a:pt x="2843" y="285"/>
                  </a:lnTo>
                  <a:lnTo>
                    <a:pt x="2850" y="291"/>
                  </a:lnTo>
                  <a:lnTo>
                    <a:pt x="2858" y="296"/>
                  </a:lnTo>
                  <a:lnTo>
                    <a:pt x="2865" y="302"/>
                  </a:lnTo>
                  <a:lnTo>
                    <a:pt x="2872" y="309"/>
                  </a:lnTo>
                  <a:lnTo>
                    <a:pt x="2878" y="315"/>
                  </a:lnTo>
                  <a:lnTo>
                    <a:pt x="2885" y="323"/>
                  </a:lnTo>
                  <a:lnTo>
                    <a:pt x="2890" y="331"/>
                  </a:lnTo>
                  <a:lnTo>
                    <a:pt x="2896" y="339"/>
                  </a:lnTo>
                  <a:lnTo>
                    <a:pt x="2900" y="348"/>
                  </a:lnTo>
                  <a:lnTo>
                    <a:pt x="2905" y="358"/>
                  </a:lnTo>
                  <a:lnTo>
                    <a:pt x="2909" y="366"/>
                  </a:lnTo>
                  <a:lnTo>
                    <a:pt x="2914" y="376"/>
                  </a:lnTo>
                  <a:lnTo>
                    <a:pt x="2917" y="388"/>
                  </a:lnTo>
                  <a:lnTo>
                    <a:pt x="2919" y="399"/>
                  </a:lnTo>
                  <a:lnTo>
                    <a:pt x="2923" y="410"/>
                  </a:lnTo>
                  <a:lnTo>
                    <a:pt x="2925" y="422"/>
                  </a:lnTo>
                  <a:lnTo>
                    <a:pt x="2926" y="434"/>
                  </a:lnTo>
                  <a:lnTo>
                    <a:pt x="2927" y="448"/>
                  </a:lnTo>
                  <a:lnTo>
                    <a:pt x="2928" y="461"/>
                  </a:lnTo>
                  <a:lnTo>
                    <a:pt x="2928" y="475"/>
                  </a:lnTo>
                  <a:lnTo>
                    <a:pt x="2928" y="804"/>
                  </a:lnTo>
                  <a:lnTo>
                    <a:pt x="2755" y="804"/>
                  </a:lnTo>
                  <a:lnTo>
                    <a:pt x="2755" y="523"/>
                  </a:lnTo>
                  <a:lnTo>
                    <a:pt x="2754" y="509"/>
                  </a:lnTo>
                  <a:lnTo>
                    <a:pt x="2753" y="495"/>
                  </a:lnTo>
                  <a:lnTo>
                    <a:pt x="2752" y="483"/>
                  </a:lnTo>
                  <a:lnTo>
                    <a:pt x="2748" y="472"/>
                  </a:lnTo>
                  <a:lnTo>
                    <a:pt x="2745" y="462"/>
                  </a:lnTo>
                  <a:lnTo>
                    <a:pt x="2741" y="452"/>
                  </a:lnTo>
                  <a:lnTo>
                    <a:pt x="2738" y="448"/>
                  </a:lnTo>
                  <a:lnTo>
                    <a:pt x="2736" y="444"/>
                  </a:lnTo>
                  <a:lnTo>
                    <a:pt x="2733" y="440"/>
                  </a:lnTo>
                  <a:lnTo>
                    <a:pt x="2731" y="436"/>
                  </a:lnTo>
                  <a:lnTo>
                    <a:pt x="2724" y="430"/>
                  </a:lnTo>
                  <a:lnTo>
                    <a:pt x="2716" y="424"/>
                  </a:lnTo>
                  <a:lnTo>
                    <a:pt x="2708" y="420"/>
                  </a:lnTo>
                  <a:lnTo>
                    <a:pt x="2699" y="415"/>
                  </a:lnTo>
                  <a:lnTo>
                    <a:pt x="2691" y="412"/>
                  </a:lnTo>
                  <a:lnTo>
                    <a:pt x="2681" y="410"/>
                  </a:lnTo>
                  <a:lnTo>
                    <a:pt x="2669" y="409"/>
                  </a:lnTo>
                  <a:lnTo>
                    <a:pt x="2658" y="409"/>
                  </a:lnTo>
                  <a:lnTo>
                    <a:pt x="2647" y="409"/>
                  </a:lnTo>
                  <a:lnTo>
                    <a:pt x="2642" y="410"/>
                  </a:lnTo>
                  <a:lnTo>
                    <a:pt x="2637" y="410"/>
                  </a:lnTo>
                  <a:lnTo>
                    <a:pt x="2627" y="412"/>
                  </a:lnTo>
                  <a:lnTo>
                    <a:pt x="2617" y="415"/>
                  </a:lnTo>
                  <a:lnTo>
                    <a:pt x="2608" y="420"/>
                  </a:lnTo>
                  <a:lnTo>
                    <a:pt x="2604" y="422"/>
                  </a:lnTo>
                  <a:lnTo>
                    <a:pt x="2599" y="424"/>
                  </a:lnTo>
                  <a:lnTo>
                    <a:pt x="2592" y="431"/>
                  </a:lnTo>
                  <a:lnTo>
                    <a:pt x="2588" y="434"/>
                  </a:lnTo>
                  <a:lnTo>
                    <a:pt x="2585" y="438"/>
                  </a:lnTo>
                  <a:lnTo>
                    <a:pt x="2582" y="442"/>
                  </a:lnTo>
                  <a:lnTo>
                    <a:pt x="2578" y="445"/>
                  </a:lnTo>
                  <a:lnTo>
                    <a:pt x="2573" y="455"/>
                  </a:lnTo>
                  <a:lnTo>
                    <a:pt x="2567" y="465"/>
                  </a:lnTo>
                  <a:lnTo>
                    <a:pt x="2566" y="471"/>
                  </a:lnTo>
                  <a:lnTo>
                    <a:pt x="2564" y="478"/>
                  </a:lnTo>
                  <a:lnTo>
                    <a:pt x="2562" y="484"/>
                  </a:lnTo>
                  <a:lnTo>
                    <a:pt x="2561" y="491"/>
                  </a:lnTo>
                  <a:lnTo>
                    <a:pt x="2558" y="504"/>
                  </a:lnTo>
                  <a:lnTo>
                    <a:pt x="2556" y="520"/>
                  </a:lnTo>
                  <a:lnTo>
                    <a:pt x="2556" y="537"/>
                  </a:lnTo>
                  <a:lnTo>
                    <a:pt x="2556" y="804"/>
                  </a:lnTo>
                  <a:lnTo>
                    <a:pt x="2383" y="804"/>
                  </a:lnTo>
                  <a:lnTo>
                    <a:pt x="2383" y="0"/>
                  </a:lnTo>
                  <a:lnTo>
                    <a:pt x="2556" y="0"/>
                  </a:lnTo>
                  <a:lnTo>
                    <a:pt x="2556" y="343"/>
                  </a:lnTo>
                  <a:close/>
                  <a:moveTo>
                    <a:pt x="3506" y="541"/>
                  </a:moveTo>
                  <a:lnTo>
                    <a:pt x="3506" y="580"/>
                  </a:lnTo>
                  <a:lnTo>
                    <a:pt x="3125" y="580"/>
                  </a:lnTo>
                  <a:lnTo>
                    <a:pt x="3128" y="592"/>
                  </a:lnTo>
                  <a:lnTo>
                    <a:pt x="3131" y="603"/>
                  </a:lnTo>
                  <a:lnTo>
                    <a:pt x="3136" y="613"/>
                  </a:lnTo>
                  <a:lnTo>
                    <a:pt x="3141" y="623"/>
                  </a:lnTo>
                  <a:lnTo>
                    <a:pt x="3147" y="632"/>
                  </a:lnTo>
                  <a:lnTo>
                    <a:pt x="3155" y="640"/>
                  </a:lnTo>
                  <a:lnTo>
                    <a:pt x="3163" y="646"/>
                  </a:lnTo>
                  <a:lnTo>
                    <a:pt x="3170" y="653"/>
                  </a:lnTo>
                  <a:lnTo>
                    <a:pt x="3180" y="659"/>
                  </a:lnTo>
                  <a:lnTo>
                    <a:pt x="3189" y="663"/>
                  </a:lnTo>
                  <a:lnTo>
                    <a:pt x="3200" y="667"/>
                  </a:lnTo>
                  <a:lnTo>
                    <a:pt x="3211" y="671"/>
                  </a:lnTo>
                  <a:lnTo>
                    <a:pt x="3223" y="673"/>
                  </a:lnTo>
                  <a:lnTo>
                    <a:pt x="3229" y="674"/>
                  </a:lnTo>
                  <a:lnTo>
                    <a:pt x="3235" y="675"/>
                  </a:lnTo>
                  <a:lnTo>
                    <a:pt x="3248" y="676"/>
                  </a:lnTo>
                  <a:lnTo>
                    <a:pt x="3260" y="676"/>
                  </a:lnTo>
                  <a:lnTo>
                    <a:pt x="3273" y="676"/>
                  </a:lnTo>
                  <a:lnTo>
                    <a:pt x="3285" y="675"/>
                  </a:lnTo>
                  <a:lnTo>
                    <a:pt x="3296" y="674"/>
                  </a:lnTo>
                  <a:lnTo>
                    <a:pt x="3307" y="672"/>
                  </a:lnTo>
                  <a:lnTo>
                    <a:pt x="3318" y="670"/>
                  </a:lnTo>
                  <a:lnTo>
                    <a:pt x="3329" y="666"/>
                  </a:lnTo>
                  <a:lnTo>
                    <a:pt x="3349" y="661"/>
                  </a:lnTo>
                  <a:lnTo>
                    <a:pt x="3359" y="656"/>
                  </a:lnTo>
                  <a:lnTo>
                    <a:pt x="3368" y="653"/>
                  </a:lnTo>
                  <a:lnTo>
                    <a:pt x="3377" y="649"/>
                  </a:lnTo>
                  <a:lnTo>
                    <a:pt x="3386" y="645"/>
                  </a:lnTo>
                  <a:lnTo>
                    <a:pt x="3401" y="636"/>
                  </a:lnTo>
                  <a:lnTo>
                    <a:pt x="3415" y="627"/>
                  </a:lnTo>
                  <a:lnTo>
                    <a:pt x="3478" y="759"/>
                  </a:lnTo>
                  <a:lnTo>
                    <a:pt x="3467" y="765"/>
                  </a:lnTo>
                  <a:lnTo>
                    <a:pt x="3456" y="772"/>
                  </a:lnTo>
                  <a:lnTo>
                    <a:pt x="3445" y="777"/>
                  </a:lnTo>
                  <a:lnTo>
                    <a:pt x="3433" y="783"/>
                  </a:lnTo>
                  <a:lnTo>
                    <a:pt x="3408" y="794"/>
                  </a:lnTo>
                  <a:lnTo>
                    <a:pt x="3395" y="799"/>
                  </a:lnTo>
                  <a:lnTo>
                    <a:pt x="3381" y="803"/>
                  </a:lnTo>
                  <a:lnTo>
                    <a:pt x="3367" y="807"/>
                  </a:lnTo>
                  <a:lnTo>
                    <a:pt x="3353" y="811"/>
                  </a:lnTo>
                  <a:lnTo>
                    <a:pt x="3338" y="814"/>
                  </a:lnTo>
                  <a:lnTo>
                    <a:pt x="3324" y="816"/>
                  </a:lnTo>
                  <a:lnTo>
                    <a:pt x="3308" y="819"/>
                  </a:lnTo>
                  <a:lnTo>
                    <a:pt x="3291" y="820"/>
                  </a:lnTo>
                  <a:lnTo>
                    <a:pt x="3276" y="821"/>
                  </a:lnTo>
                  <a:lnTo>
                    <a:pt x="3258" y="821"/>
                  </a:lnTo>
                  <a:lnTo>
                    <a:pt x="3243" y="821"/>
                  </a:lnTo>
                  <a:lnTo>
                    <a:pt x="3226" y="820"/>
                  </a:lnTo>
                  <a:lnTo>
                    <a:pt x="3210" y="819"/>
                  </a:lnTo>
                  <a:lnTo>
                    <a:pt x="3195" y="816"/>
                  </a:lnTo>
                  <a:lnTo>
                    <a:pt x="3179" y="813"/>
                  </a:lnTo>
                  <a:lnTo>
                    <a:pt x="3165" y="810"/>
                  </a:lnTo>
                  <a:lnTo>
                    <a:pt x="3150" y="805"/>
                  </a:lnTo>
                  <a:lnTo>
                    <a:pt x="3137" y="801"/>
                  </a:lnTo>
                  <a:lnTo>
                    <a:pt x="3124" y="796"/>
                  </a:lnTo>
                  <a:lnTo>
                    <a:pt x="3110" y="790"/>
                  </a:lnTo>
                  <a:lnTo>
                    <a:pt x="3098" y="784"/>
                  </a:lnTo>
                  <a:lnTo>
                    <a:pt x="3087" y="777"/>
                  </a:lnTo>
                  <a:lnTo>
                    <a:pt x="3080" y="773"/>
                  </a:lnTo>
                  <a:lnTo>
                    <a:pt x="3075" y="770"/>
                  </a:lnTo>
                  <a:lnTo>
                    <a:pt x="3064" y="762"/>
                  </a:lnTo>
                  <a:lnTo>
                    <a:pt x="3054" y="753"/>
                  </a:lnTo>
                  <a:lnTo>
                    <a:pt x="3044" y="744"/>
                  </a:lnTo>
                  <a:lnTo>
                    <a:pt x="3034" y="735"/>
                  </a:lnTo>
                  <a:lnTo>
                    <a:pt x="3025" y="725"/>
                  </a:lnTo>
                  <a:lnTo>
                    <a:pt x="3017" y="714"/>
                  </a:lnTo>
                  <a:lnTo>
                    <a:pt x="3009" y="704"/>
                  </a:lnTo>
                  <a:lnTo>
                    <a:pt x="3002" y="692"/>
                  </a:lnTo>
                  <a:lnTo>
                    <a:pt x="2995" y="681"/>
                  </a:lnTo>
                  <a:lnTo>
                    <a:pt x="2989" y="669"/>
                  </a:lnTo>
                  <a:lnTo>
                    <a:pt x="2984" y="655"/>
                  </a:lnTo>
                  <a:lnTo>
                    <a:pt x="2978" y="643"/>
                  </a:lnTo>
                  <a:lnTo>
                    <a:pt x="2974" y="630"/>
                  </a:lnTo>
                  <a:lnTo>
                    <a:pt x="2970" y="615"/>
                  </a:lnTo>
                  <a:lnTo>
                    <a:pt x="2967" y="601"/>
                  </a:lnTo>
                  <a:lnTo>
                    <a:pt x="2965" y="586"/>
                  </a:lnTo>
                  <a:lnTo>
                    <a:pt x="2964" y="572"/>
                  </a:lnTo>
                  <a:lnTo>
                    <a:pt x="2963" y="556"/>
                  </a:lnTo>
                  <a:lnTo>
                    <a:pt x="2963" y="541"/>
                  </a:lnTo>
                  <a:lnTo>
                    <a:pt x="2963" y="524"/>
                  </a:lnTo>
                  <a:lnTo>
                    <a:pt x="2964" y="508"/>
                  </a:lnTo>
                  <a:lnTo>
                    <a:pt x="2965" y="492"/>
                  </a:lnTo>
                  <a:lnTo>
                    <a:pt x="2967" y="478"/>
                  </a:lnTo>
                  <a:lnTo>
                    <a:pt x="2970" y="462"/>
                  </a:lnTo>
                  <a:lnTo>
                    <a:pt x="2974" y="448"/>
                  </a:lnTo>
                  <a:lnTo>
                    <a:pt x="2978" y="434"/>
                  </a:lnTo>
                  <a:lnTo>
                    <a:pt x="2983" y="421"/>
                  </a:lnTo>
                  <a:lnTo>
                    <a:pt x="2988" y="408"/>
                  </a:lnTo>
                  <a:lnTo>
                    <a:pt x="2994" y="395"/>
                  </a:lnTo>
                  <a:lnTo>
                    <a:pt x="3000" y="383"/>
                  </a:lnTo>
                  <a:lnTo>
                    <a:pt x="3008" y="372"/>
                  </a:lnTo>
                  <a:lnTo>
                    <a:pt x="3015" y="361"/>
                  </a:lnTo>
                  <a:lnTo>
                    <a:pt x="3024" y="351"/>
                  </a:lnTo>
                  <a:lnTo>
                    <a:pt x="3032" y="341"/>
                  </a:lnTo>
                  <a:lnTo>
                    <a:pt x="3042" y="332"/>
                  </a:lnTo>
                  <a:lnTo>
                    <a:pt x="3050" y="323"/>
                  </a:lnTo>
                  <a:lnTo>
                    <a:pt x="3060" y="314"/>
                  </a:lnTo>
                  <a:lnTo>
                    <a:pt x="3072" y="306"/>
                  </a:lnTo>
                  <a:lnTo>
                    <a:pt x="3083" y="300"/>
                  </a:lnTo>
                  <a:lnTo>
                    <a:pt x="3094" y="293"/>
                  </a:lnTo>
                  <a:lnTo>
                    <a:pt x="3105" y="286"/>
                  </a:lnTo>
                  <a:lnTo>
                    <a:pt x="3117" y="281"/>
                  </a:lnTo>
                  <a:lnTo>
                    <a:pt x="3130" y="276"/>
                  </a:lnTo>
                  <a:lnTo>
                    <a:pt x="3143" y="272"/>
                  </a:lnTo>
                  <a:lnTo>
                    <a:pt x="3156" y="268"/>
                  </a:lnTo>
                  <a:lnTo>
                    <a:pt x="3169" y="264"/>
                  </a:lnTo>
                  <a:lnTo>
                    <a:pt x="3184" y="262"/>
                  </a:lnTo>
                  <a:lnTo>
                    <a:pt x="3198" y="260"/>
                  </a:lnTo>
                  <a:lnTo>
                    <a:pt x="3213" y="258"/>
                  </a:lnTo>
                  <a:lnTo>
                    <a:pt x="3227" y="258"/>
                  </a:lnTo>
                  <a:lnTo>
                    <a:pt x="3243" y="256"/>
                  </a:lnTo>
                  <a:lnTo>
                    <a:pt x="3257" y="258"/>
                  </a:lnTo>
                  <a:lnTo>
                    <a:pt x="3271" y="258"/>
                  </a:lnTo>
                  <a:lnTo>
                    <a:pt x="3286" y="260"/>
                  </a:lnTo>
                  <a:lnTo>
                    <a:pt x="3299" y="261"/>
                  </a:lnTo>
                  <a:lnTo>
                    <a:pt x="3313" y="263"/>
                  </a:lnTo>
                  <a:lnTo>
                    <a:pt x="3326" y="266"/>
                  </a:lnTo>
                  <a:lnTo>
                    <a:pt x="3339" y="270"/>
                  </a:lnTo>
                  <a:lnTo>
                    <a:pt x="3345" y="272"/>
                  </a:lnTo>
                  <a:lnTo>
                    <a:pt x="3351" y="274"/>
                  </a:lnTo>
                  <a:lnTo>
                    <a:pt x="3363" y="279"/>
                  </a:lnTo>
                  <a:lnTo>
                    <a:pt x="3375" y="284"/>
                  </a:lnTo>
                  <a:lnTo>
                    <a:pt x="3386" y="290"/>
                  </a:lnTo>
                  <a:lnTo>
                    <a:pt x="3396" y="296"/>
                  </a:lnTo>
                  <a:lnTo>
                    <a:pt x="3406" y="303"/>
                  </a:lnTo>
                  <a:lnTo>
                    <a:pt x="3411" y="306"/>
                  </a:lnTo>
                  <a:lnTo>
                    <a:pt x="3416" y="311"/>
                  </a:lnTo>
                  <a:lnTo>
                    <a:pt x="3425" y="319"/>
                  </a:lnTo>
                  <a:lnTo>
                    <a:pt x="3434" y="326"/>
                  </a:lnTo>
                  <a:lnTo>
                    <a:pt x="3443" y="336"/>
                  </a:lnTo>
                  <a:lnTo>
                    <a:pt x="3450" y="345"/>
                  </a:lnTo>
                  <a:lnTo>
                    <a:pt x="3458" y="355"/>
                  </a:lnTo>
                  <a:lnTo>
                    <a:pt x="3465" y="366"/>
                  </a:lnTo>
                  <a:lnTo>
                    <a:pt x="3471" y="378"/>
                  </a:lnTo>
                  <a:lnTo>
                    <a:pt x="3477" y="390"/>
                  </a:lnTo>
                  <a:lnTo>
                    <a:pt x="3483" y="402"/>
                  </a:lnTo>
                  <a:lnTo>
                    <a:pt x="3487" y="415"/>
                  </a:lnTo>
                  <a:lnTo>
                    <a:pt x="3489" y="422"/>
                  </a:lnTo>
                  <a:lnTo>
                    <a:pt x="3491" y="429"/>
                  </a:lnTo>
                  <a:lnTo>
                    <a:pt x="3495" y="443"/>
                  </a:lnTo>
                  <a:lnTo>
                    <a:pt x="3498" y="458"/>
                  </a:lnTo>
                  <a:lnTo>
                    <a:pt x="3501" y="473"/>
                  </a:lnTo>
                  <a:lnTo>
                    <a:pt x="3502" y="490"/>
                  </a:lnTo>
                  <a:lnTo>
                    <a:pt x="3505" y="506"/>
                  </a:lnTo>
                  <a:lnTo>
                    <a:pt x="3506" y="523"/>
                  </a:lnTo>
                  <a:lnTo>
                    <a:pt x="3506" y="541"/>
                  </a:lnTo>
                  <a:close/>
                  <a:moveTo>
                    <a:pt x="3126" y="478"/>
                  </a:moveTo>
                  <a:lnTo>
                    <a:pt x="3338" y="478"/>
                  </a:lnTo>
                  <a:lnTo>
                    <a:pt x="3337" y="466"/>
                  </a:lnTo>
                  <a:lnTo>
                    <a:pt x="3335" y="455"/>
                  </a:lnTo>
                  <a:lnTo>
                    <a:pt x="3333" y="445"/>
                  </a:lnTo>
                  <a:lnTo>
                    <a:pt x="3329" y="436"/>
                  </a:lnTo>
                  <a:lnTo>
                    <a:pt x="3325" y="428"/>
                  </a:lnTo>
                  <a:lnTo>
                    <a:pt x="3319" y="420"/>
                  </a:lnTo>
                  <a:lnTo>
                    <a:pt x="3317" y="415"/>
                  </a:lnTo>
                  <a:lnTo>
                    <a:pt x="3314" y="412"/>
                  </a:lnTo>
                  <a:lnTo>
                    <a:pt x="3308" y="405"/>
                  </a:lnTo>
                  <a:lnTo>
                    <a:pt x="3300" y="400"/>
                  </a:lnTo>
                  <a:lnTo>
                    <a:pt x="3293" y="394"/>
                  </a:lnTo>
                  <a:lnTo>
                    <a:pt x="3285" y="390"/>
                  </a:lnTo>
                  <a:lnTo>
                    <a:pt x="3276" y="386"/>
                  </a:lnTo>
                  <a:lnTo>
                    <a:pt x="3267" y="383"/>
                  </a:lnTo>
                  <a:lnTo>
                    <a:pt x="3257" y="382"/>
                  </a:lnTo>
                  <a:lnTo>
                    <a:pt x="3247" y="380"/>
                  </a:lnTo>
                  <a:lnTo>
                    <a:pt x="3237" y="380"/>
                  </a:lnTo>
                  <a:lnTo>
                    <a:pt x="3226" y="380"/>
                  </a:lnTo>
                  <a:lnTo>
                    <a:pt x="3216" y="381"/>
                  </a:lnTo>
                  <a:lnTo>
                    <a:pt x="3206" y="383"/>
                  </a:lnTo>
                  <a:lnTo>
                    <a:pt x="3196" y="385"/>
                  </a:lnTo>
                  <a:lnTo>
                    <a:pt x="3187" y="389"/>
                  </a:lnTo>
                  <a:lnTo>
                    <a:pt x="3178" y="393"/>
                  </a:lnTo>
                  <a:lnTo>
                    <a:pt x="3170" y="398"/>
                  </a:lnTo>
                  <a:lnTo>
                    <a:pt x="3163" y="403"/>
                  </a:lnTo>
                  <a:lnTo>
                    <a:pt x="3156" y="409"/>
                  </a:lnTo>
                  <a:lnTo>
                    <a:pt x="3149" y="416"/>
                  </a:lnTo>
                  <a:lnTo>
                    <a:pt x="3144" y="424"/>
                  </a:lnTo>
                  <a:lnTo>
                    <a:pt x="3139" y="433"/>
                  </a:lnTo>
                  <a:lnTo>
                    <a:pt x="3137" y="438"/>
                  </a:lnTo>
                  <a:lnTo>
                    <a:pt x="3135" y="443"/>
                  </a:lnTo>
                  <a:lnTo>
                    <a:pt x="3131" y="453"/>
                  </a:lnTo>
                  <a:lnTo>
                    <a:pt x="3128" y="465"/>
                  </a:lnTo>
                  <a:lnTo>
                    <a:pt x="3126" y="4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3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0176312" y="5785847"/>
                </a:moveTo>
                <a:lnTo>
                  <a:pt x="10176312" y="5892262"/>
                </a:lnTo>
                <a:lnTo>
                  <a:pt x="10176312" y="5998816"/>
                </a:lnTo>
                <a:lnTo>
                  <a:pt x="10176312" y="6105371"/>
                </a:lnTo>
                <a:lnTo>
                  <a:pt x="10176312" y="6211926"/>
                </a:lnTo>
                <a:lnTo>
                  <a:pt x="10267500" y="6211926"/>
                </a:lnTo>
                <a:lnTo>
                  <a:pt x="10297850" y="6211926"/>
                </a:lnTo>
                <a:lnTo>
                  <a:pt x="10297850" y="6333813"/>
                </a:lnTo>
                <a:lnTo>
                  <a:pt x="10297850" y="6455700"/>
                </a:lnTo>
                <a:lnTo>
                  <a:pt x="10297850" y="6577586"/>
                </a:lnTo>
                <a:lnTo>
                  <a:pt x="10297850" y="6699473"/>
                </a:lnTo>
                <a:lnTo>
                  <a:pt x="10389125" y="6699473"/>
                </a:lnTo>
                <a:lnTo>
                  <a:pt x="10480540" y="6699473"/>
                </a:lnTo>
                <a:lnTo>
                  <a:pt x="10572095" y="6699473"/>
                </a:lnTo>
                <a:lnTo>
                  <a:pt x="10663510" y="6699473"/>
                </a:lnTo>
                <a:lnTo>
                  <a:pt x="10754785" y="6699473"/>
                </a:lnTo>
                <a:lnTo>
                  <a:pt x="10846199" y="6699473"/>
                </a:lnTo>
                <a:lnTo>
                  <a:pt x="10937754" y="6699473"/>
                </a:lnTo>
                <a:lnTo>
                  <a:pt x="11029169" y="6699473"/>
                </a:lnTo>
                <a:lnTo>
                  <a:pt x="11120444" y="6699473"/>
                </a:lnTo>
                <a:lnTo>
                  <a:pt x="11211859" y="6699473"/>
                </a:lnTo>
                <a:lnTo>
                  <a:pt x="11303274" y="6699473"/>
                </a:lnTo>
                <a:lnTo>
                  <a:pt x="11394828" y="6699473"/>
                </a:lnTo>
                <a:lnTo>
                  <a:pt x="11486104" y="6699473"/>
                </a:lnTo>
                <a:lnTo>
                  <a:pt x="11577518" y="6699473"/>
                </a:lnTo>
                <a:lnTo>
                  <a:pt x="11668933" y="6699473"/>
                </a:lnTo>
                <a:lnTo>
                  <a:pt x="11760488" y="6699473"/>
                </a:lnTo>
                <a:lnTo>
                  <a:pt x="11760488" y="6577586"/>
                </a:lnTo>
                <a:lnTo>
                  <a:pt x="11760488" y="6455700"/>
                </a:lnTo>
                <a:lnTo>
                  <a:pt x="11760488" y="6333813"/>
                </a:lnTo>
                <a:lnTo>
                  <a:pt x="11760488" y="6211926"/>
                </a:lnTo>
                <a:lnTo>
                  <a:pt x="11668933" y="6211926"/>
                </a:lnTo>
                <a:lnTo>
                  <a:pt x="11577518" y="6211926"/>
                </a:lnTo>
                <a:lnTo>
                  <a:pt x="11486104" y="6211926"/>
                </a:lnTo>
                <a:lnTo>
                  <a:pt x="11394828" y="6211926"/>
                </a:lnTo>
                <a:lnTo>
                  <a:pt x="11303274" y="6211926"/>
                </a:lnTo>
                <a:lnTo>
                  <a:pt x="11211859" y="6211926"/>
                </a:lnTo>
                <a:lnTo>
                  <a:pt x="11120444" y="6211926"/>
                </a:lnTo>
                <a:lnTo>
                  <a:pt x="11029169" y="6211926"/>
                </a:lnTo>
                <a:lnTo>
                  <a:pt x="10937754" y="6211926"/>
                </a:lnTo>
                <a:lnTo>
                  <a:pt x="10906933" y="6211926"/>
                </a:lnTo>
                <a:lnTo>
                  <a:pt x="10906933" y="6105371"/>
                </a:lnTo>
                <a:lnTo>
                  <a:pt x="10906933" y="5998816"/>
                </a:lnTo>
                <a:lnTo>
                  <a:pt x="10906933" y="5892262"/>
                </a:lnTo>
                <a:lnTo>
                  <a:pt x="10906933" y="5785847"/>
                </a:lnTo>
                <a:lnTo>
                  <a:pt x="10815605" y="5785847"/>
                </a:lnTo>
                <a:lnTo>
                  <a:pt x="10724138" y="5785847"/>
                </a:lnTo>
                <a:lnTo>
                  <a:pt x="10632810" y="5785847"/>
                </a:lnTo>
                <a:lnTo>
                  <a:pt x="10541622" y="5785847"/>
                </a:lnTo>
                <a:lnTo>
                  <a:pt x="10450295" y="5785847"/>
                </a:lnTo>
                <a:lnTo>
                  <a:pt x="10358828" y="5785847"/>
                </a:lnTo>
                <a:lnTo>
                  <a:pt x="10267500" y="5785847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r">
              <a:buFontTx/>
              <a:buNone/>
              <a:defRPr sz="1200"/>
            </a:lvl1pPr>
          </a:lstStyle>
          <a:p>
            <a:r>
              <a:rPr lang="en-US"/>
              <a:t>Click icon to change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50866" y="1926000"/>
            <a:ext cx="9217025" cy="1296000"/>
          </a:xfrm>
        </p:spPr>
        <p:txBody>
          <a:bodyPr anchor="t" anchorCtr="0"/>
          <a:lstStyle>
            <a:lvl1pPr algn="l">
              <a:defRPr sz="5000" b="1"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50866" y="1404000"/>
            <a:ext cx="9217025" cy="360000"/>
          </a:xfrm>
        </p:spPr>
        <p:txBody>
          <a:bodyPr anchor="b" anchorCtr="0"/>
          <a:lstStyle>
            <a:lvl1pPr marL="0" indent="0" algn="l">
              <a:buNone/>
              <a:defRPr sz="200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1007622A-B505-4192-9E07-988546934E8F}" type="datetime1">
              <a:rPr lang="en-US" smtClean="0"/>
              <a:t>5/29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6" y="4653136"/>
            <a:ext cx="9217025" cy="720552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r>
              <a:rPr lang="en-US" dirty="0"/>
              <a:t>Name / Title / Date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-2098"/>
            <a:ext cx="1299600" cy="831600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fi-FI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108713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Blue light">
    <p:bg>
      <p:bgPr>
        <a:solidFill>
          <a:srgbClr val="50BE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096000" y="0"/>
            <a:ext cx="1587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5981" rIns="0" bIns="0">
            <a:noAutofit/>
          </a:bodyPr>
          <a:lstStyle/>
          <a:p>
            <a:pPr algn="ctr" eaLnBrk="1">
              <a:buClrTx/>
              <a:buFontTx/>
              <a:buNone/>
            </a:pPr>
            <a:endParaRPr lang="en-US" sz="1099" b="1" dirty="0">
              <a:solidFill>
                <a:srgbClr val="990000"/>
              </a:solidFill>
            </a:endParaRPr>
          </a:p>
        </p:txBody>
      </p:sp>
      <p:grpSp>
        <p:nvGrpSpPr>
          <p:cNvPr id="31" name="Gruppieren 30"/>
          <p:cNvGrpSpPr/>
          <p:nvPr userDrawn="1"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32" name="Gerade Verbindung 3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123228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4" name="cdtRectangle 115 Id57350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 bwMode="ltGray">
          <a:xfrm>
            <a:off x="626736" y="4569350"/>
            <a:ext cx="6476627" cy="1662564"/>
          </a:xfrm>
          <a:noFill/>
        </p:spPr>
        <p:txBody>
          <a:bodyPr wrap="square" lIns="216000" tIns="90000" rIns="216000" bIns="216000" anchor="b" anchorCtr="0">
            <a:spAutoFit/>
          </a:bodyPr>
          <a:lstStyle>
            <a:lvl1pPr>
              <a:defRPr sz="4398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grpSp>
        <p:nvGrpSpPr>
          <p:cNvPr id="28" name="Group 33"/>
          <p:cNvGrpSpPr>
            <a:grpSpLocks noChangeAspect="1"/>
          </p:cNvGrpSpPr>
          <p:nvPr userDrawn="1"/>
        </p:nvGrpSpPr>
        <p:grpSpPr bwMode="auto">
          <a:xfrm>
            <a:off x="9550189" y="323850"/>
            <a:ext cx="2157876" cy="914400"/>
            <a:chOff x="6019" y="204"/>
            <a:chExt cx="1360" cy="576"/>
          </a:xfrm>
        </p:grpSpPr>
        <p:sp>
          <p:nvSpPr>
            <p:cNvPr id="30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33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35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36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37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38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39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40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41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42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43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44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45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46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47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48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49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50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51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52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53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54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55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77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78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79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  <p:sp>
          <p:nvSpPr>
            <p:cNvPr id="80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/>
            </a:p>
          </p:txBody>
        </p:sp>
      </p:grpSp>
    </p:spTree>
    <p:extLst>
      <p:ext uri="{BB962C8B-B14F-4D97-AF65-F5344CB8AC3E}">
        <p14:creationId xmlns:p14="http://schemas.microsoft.com/office/powerpoint/2010/main" val="160029642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slide_nega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 noChangeAspect="1"/>
          </p:cNvGrpSpPr>
          <p:nvPr userDrawn="1"/>
        </p:nvGrpSpPr>
        <p:grpSpPr>
          <a:xfrm>
            <a:off x="10176312" y="5785848"/>
            <a:ext cx="1584176" cy="913626"/>
            <a:chOff x="10176312" y="5785848"/>
            <a:chExt cx="1584176" cy="913626"/>
          </a:xfrm>
        </p:grpSpPr>
        <p:sp>
          <p:nvSpPr>
            <p:cNvPr id="15" name="Freeform 6"/>
            <p:cNvSpPr>
              <a:spLocks/>
            </p:cNvSpPr>
            <p:nvPr userDrawn="1"/>
          </p:nvSpPr>
          <p:spPr bwMode="auto">
            <a:xfrm>
              <a:off x="10297850" y="6211927"/>
              <a:ext cx="1462638" cy="487547"/>
            </a:xfrm>
            <a:custGeom>
              <a:avLst/>
              <a:gdLst>
                <a:gd name="T0" fmla="*/ 0 w 10464"/>
                <a:gd name="T1" fmla="*/ 3488 h 3488"/>
                <a:gd name="T2" fmla="*/ 653 w 10464"/>
                <a:gd name="T3" fmla="*/ 3488 h 3488"/>
                <a:gd name="T4" fmla="*/ 1307 w 10464"/>
                <a:gd name="T5" fmla="*/ 3488 h 3488"/>
                <a:gd name="T6" fmla="*/ 1962 w 10464"/>
                <a:gd name="T7" fmla="*/ 3488 h 3488"/>
                <a:gd name="T8" fmla="*/ 2616 w 10464"/>
                <a:gd name="T9" fmla="*/ 3488 h 3488"/>
                <a:gd name="T10" fmla="*/ 3269 w 10464"/>
                <a:gd name="T11" fmla="*/ 3488 h 3488"/>
                <a:gd name="T12" fmla="*/ 3923 w 10464"/>
                <a:gd name="T13" fmla="*/ 3488 h 3488"/>
                <a:gd name="T14" fmla="*/ 4578 w 10464"/>
                <a:gd name="T15" fmla="*/ 3488 h 3488"/>
                <a:gd name="T16" fmla="*/ 5232 w 10464"/>
                <a:gd name="T17" fmla="*/ 3488 h 3488"/>
                <a:gd name="T18" fmla="*/ 5885 w 10464"/>
                <a:gd name="T19" fmla="*/ 3488 h 3488"/>
                <a:gd name="T20" fmla="*/ 6539 w 10464"/>
                <a:gd name="T21" fmla="*/ 3488 h 3488"/>
                <a:gd name="T22" fmla="*/ 7193 w 10464"/>
                <a:gd name="T23" fmla="*/ 3488 h 3488"/>
                <a:gd name="T24" fmla="*/ 7848 w 10464"/>
                <a:gd name="T25" fmla="*/ 3488 h 3488"/>
                <a:gd name="T26" fmla="*/ 8501 w 10464"/>
                <a:gd name="T27" fmla="*/ 3488 h 3488"/>
                <a:gd name="T28" fmla="*/ 9155 w 10464"/>
                <a:gd name="T29" fmla="*/ 3488 h 3488"/>
                <a:gd name="T30" fmla="*/ 9809 w 10464"/>
                <a:gd name="T31" fmla="*/ 3488 h 3488"/>
                <a:gd name="T32" fmla="*/ 10464 w 10464"/>
                <a:gd name="T33" fmla="*/ 3488 h 3488"/>
                <a:gd name="T34" fmla="*/ 10464 w 10464"/>
                <a:gd name="T35" fmla="*/ 2616 h 3488"/>
                <a:gd name="T36" fmla="*/ 10464 w 10464"/>
                <a:gd name="T37" fmla="*/ 1744 h 3488"/>
                <a:gd name="T38" fmla="*/ 10464 w 10464"/>
                <a:gd name="T39" fmla="*/ 872 h 3488"/>
                <a:gd name="T40" fmla="*/ 10464 w 10464"/>
                <a:gd name="T41" fmla="*/ 0 h 3488"/>
                <a:gd name="T42" fmla="*/ 9809 w 10464"/>
                <a:gd name="T43" fmla="*/ 0 h 3488"/>
                <a:gd name="T44" fmla="*/ 9155 w 10464"/>
                <a:gd name="T45" fmla="*/ 0 h 3488"/>
                <a:gd name="T46" fmla="*/ 8501 w 10464"/>
                <a:gd name="T47" fmla="*/ 0 h 3488"/>
                <a:gd name="T48" fmla="*/ 7848 w 10464"/>
                <a:gd name="T49" fmla="*/ 0 h 3488"/>
                <a:gd name="T50" fmla="*/ 7193 w 10464"/>
                <a:gd name="T51" fmla="*/ 0 h 3488"/>
                <a:gd name="T52" fmla="*/ 6539 w 10464"/>
                <a:gd name="T53" fmla="*/ 0 h 3488"/>
                <a:gd name="T54" fmla="*/ 5885 w 10464"/>
                <a:gd name="T55" fmla="*/ 0 h 3488"/>
                <a:gd name="T56" fmla="*/ 5232 w 10464"/>
                <a:gd name="T57" fmla="*/ 0 h 3488"/>
                <a:gd name="T58" fmla="*/ 4578 w 10464"/>
                <a:gd name="T59" fmla="*/ 0 h 3488"/>
                <a:gd name="T60" fmla="*/ 3923 w 10464"/>
                <a:gd name="T61" fmla="*/ 0 h 3488"/>
                <a:gd name="T62" fmla="*/ 3269 w 10464"/>
                <a:gd name="T63" fmla="*/ 0 h 3488"/>
                <a:gd name="T64" fmla="*/ 2616 w 10464"/>
                <a:gd name="T65" fmla="*/ 0 h 3488"/>
                <a:gd name="T66" fmla="*/ 1962 w 10464"/>
                <a:gd name="T67" fmla="*/ 0 h 3488"/>
                <a:gd name="T68" fmla="*/ 1307 w 10464"/>
                <a:gd name="T69" fmla="*/ 0 h 3488"/>
                <a:gd name="T70" fmla="*/ 653 w 10464"/>
                <a:gd name="T71" fmla="*/ 0 h 3488"/>
                <a:gd name="T72" fmla="*/ 0 w 10464"/>
                <a:gd name="T73" fmla="*/ 0 h 3488"/>
                <a:gd name="T74" fmla="*/ 0 w 10464"/>
                <a:gd name="T75" fmla="*/ 872 h 3488"/>
                <a:gd name="T76" fmla="*/ 0 w 10464"/>
                <a:gd name="T77" fmla="*/ 1744 h 3488"/>
                <a:gd name="T78" fmla="*/ 0 w 10464"/>
                <a:gd name="T79" fmla="*/ 2616 h 3488"/>
                <a:gd name="T80" fmla="*/ 0 w 10464"/>
                <a:gd name="T81" fmla="*/ 3488 h 3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0464" h="3488">
                  <a:moveTo>
                    <a:pt x="0" y="3488"/>
                  </a:moveTo>
                  <a:lnTo>
                    <a:pt x="653" y="3488"/>
                  </a:lnTo>
                  <a:lnTo>
                    <a:pt x="1307" y="3488"/>
                  </a:lnTo>
                  <a:lnTo>
                    <a:pt x="1962" y="3488"/>
                  </a:lnTo>
                  <a:lnTo>
                    <a:pt x="2616" y="3488"/>
                  </a:lnTo>
                  <a:lnTo>
                    <a:pt x="3269" y="3488"/>
                  </a:lnTo>
                  <a:lnTo>
                    <a:pt x="3923" y="3488"/>
                  </a:lnTo>
                  <a:lnTo>
                    <a:pt x="4578" y="3488"/>
                  </a:lnTo>
                  <a:lnTo>
                    <a:pt x="5232" y="3488"/>
                  </a:lnTo>
                  <a:lnTo>
                    <a:pt x="5885" y="3488"/>
                  </a:lnTo>
                  <a:lnTo>
                    <a:pt x="6539" y="3488"/>
                  </a:lnTo>
                  <a:lnTo>
                    <a:pt x="7193" y="3488"/>
                  </a:lnTo>
                  <a:lnTo>
                    <a:pt x="7848" y="3488"/>
                  </a:lnTo>
                  <a:lnTo>
                    <a:pt x="8501" y="3488"/>
                  </a:lnTo>
                  <a:lnTo>
                    <a:pt x="9155" y="3488"/>
                  </a:lnTo>
                  <a:lnTo>
                    <a:pt x="9809" y="3488"/>
                  </a:lnTo>
                  <a:lnTo>
                    <a:pt x="10464" y="3488"/>
                  </a:lnTo>
                  <a:lnTo>
                    <a:pt x="10464" y="2616"/>
                  </a:lnTo>
                  <a:lnTo>
                    <a:pt x="10464" y="1744"/>
                  </a:lnTo>
                  <a:lnTo>
                    <a:pt x="10464" y="872"/>
                  </a:lnTo>
                  <a:lnTo>
                    <a:pt x="10464" y="0"/>
                  </a:lnTo>
                  <a:lnTo>
                    <a:pt x="9809" y="0"/>
                  </a:lnTo>
                  <a:lnTo>
                    <a:pt x="9155" y="0"/>
                  </a:lnTo>
                  <a:lnTo>
                    <a:pt x="8501" y="0"/>
                  </a:lnTo>
                  <a:lnTo>
                    <a:pt x="7848" y="0"/>
                  </a:lnTo>
                  <a:lnTo>
                    <a:pt x="7193" y="0"/>
                  </a:lnTo>
                  <a:lnTo>
                    <a:pt x="6539" y="0"/>
                  </a:lnTo>
                  <a:lnTo>
                    <a:pt x="5885" y="0"/>
                  </a:lnTo>
                  <a:lnTo>
                    <a:pt x="5232" y="0"/>
                  </a:lnTo>
                  <a:lnTo>
                    <a:pt x="4578" y="0"/>
                  </a:lnTo>
                  <a:lnTo>
                    <a:pt x="3923" y="0"/>
                  </a:lnTo>
                  <a:lnTo>
                    <a:pt x="3269" y="0"/>
                  </a:lnTo>
                  <a:lnTo>
                    <a:pt x="2616" y="0"/>
                  </a:lnTo>
                  <a:lnTo>
                    <a:pt x="1962" y="0"/>
                  </a:lnTo>
                  <a:lnTo>
                    <a:pt x="1307" y="0"/>
                  </a:lnTo>
                  <a:lnTo>
                    <a:pt x="653" y="0"/>
                  </a:lnTo>
                  <a:lnTo>
                    <a:pt x="0" y="0"/>
                  </a:lnTo>
                  <a:lnTo>
                    <a:pt x="0" y="872"/>
                  </a:lnTo>
                  <a:lnTo>
                    <a:pt x="0" y="1744"/>
                  </a:lnTo>
                  <a:lnTo>
                    <a:pt x="0" y="2616"/>
                  </a:lnTo>
                  <a:lnTo>
                    <a:pt x="0" y="348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9" name="Freeform 7"/>
            <p:cNvSpPr>
              <a:spLocks noEditPoints="1"/>
            </p:cNvSpPr>
            <p:nvPr userDrawn="1"/>
          </p:nvSpPr>
          <p:spPr bwMode="auto">
            <a:xfrm>
              <a:off x="10419386" y="6306922"/>
              <a:ext cx="1218166" cy="286381"/>
            </a:xfrm>
            <a:custGeom>
              <a:avLst/>
              <a:gdLst>
                <a:gd name="T0" fmla="*/ 3454 w 8720"/>
                <a:gd name="T1" fmla="*/ 1049 h 2050"/>
                <a:gd name="T2" fmla="*/ 3166 w 8720"/>
                <a:gd name="T3" fmla="*/ 1051 h 2050"/>
                <a:gd name="T4" fmla="*/ 3068 w 8720"/>
                <a:gd name="T5" fmla="*/ 1409 h 2050"/>
                <a:gd name="T6" fmla="*/ 3261 w 8720"/>
                <a:gd name="T7" fmla="*/ 1675 h 2050"/>
                <a:gd name="T8" fmla="*/ 3519 w 8720"/>
                <a:gd name="T9" fmla="*/ 1539 h 2050"/>
                <a:gd name="T10" fmla="*/ 3863 w 8720"/>
                <a:gd name="T11" fmla="*/ 1565 h 2050"/>
                <a:gd name="T12" fmla="*/ 3603 w 8720"/>
                <a:gd name="T13" fmla="*/ 1898 h 2050"/>
                <a:gd name="T14" fmla="*/ 3188 w 8720"/>
                <a:gd name="T15" fmla="*/ 1959 h 2050"/>
                <a:gd name="T16" fmla="*/ 2786 w 8720"/>
                <a:gd name="T17" fmla="*/ 1655 h 2050"/>
                <a:gd name="T18" fmla="*/ 2732 w 8720"/>
                <a:gd name="T19" fmla="*/ 1207 h 2050"/>
                <a:gd name="T20" fmla="*/ 3018 w 8720"/>
                <a:gd name="T21" fmla="*/ 786 h 2050"/>
                <a:gd name="T22" fmla="*/ 3503 w 8720"/>
                <a:gd name="T23" fmla="*/ 740 h 2050"/>
                <a:gd name="T24" fmla="*/ 3857 w 8720"/>
                <a:gd name="T25" fmla="*/ 1088 h 2050"/>
                <a:gd name="T26" fmla="*/ 4586 w 8720"/>
                <a:gd name="T27" fmla="*/ 1045 h 2050"/>
                <a:gd name="T28" fmla="*/ 4361 w 8720"/>
                <a:gd name="T29" fmla="*/ 1327 h 2050"/>
                <a:gd name="T30" fmla="*/ 4391 w 8720"/>
                <a:gd name="T31" fmla="*/ 895 h 2050"/>
                <a:gd name="T32" fmla="*/ 4703 w 8720"/>
                <a:gd name="T33" fmla="*/ 728 h 2050"/>
                <a:gd name="T34" fmla="*/ 5384 w 8720"/>
                <a:gd name="T35" fmla="*/ 1679 h 2050"/>
                <a:gd name="T36" fmla="*/ 5258 w 8720"/>
                <a:gd name="T37" fmla="*/ 1026 h 2050"/>
                <a:gd name="T38" fmla="*/ 4962 w 8720"/>
                <a:gd name="T39" fmla="*/ 1758 h 2050"/>
                <a:gd name="T40" fmla="*/ 5374 w 8720"/>
                <a:gd name="T41" fmla="*/ 1960 h 2050"/>
                <a:gd name="T42" fmla="*/ 6441 w 8720"/>
                <a:gd name="T43" fmla="*/ 1538 h 2050"/>
                <a:gd name="T44" fmla="*/ 6231 w 8720"/>
                <a:gd name="T45" fmla="*/ 1676 h 2050"/>
                <a:gd name="T46" fmla="*/ 6056 w 8720"/>
                <a:gd name="T47" fmla="*/ 1487 h 2050"/>
                <a:gd name="T48" fmla="*/ 5746 w 8720"/>
                <a:gd name="T49" fmla="*/ 1671 h 2050"/>
                <a:gd name="T50" fmla="*/ 5949 w 8720"/>
                <a:gd name="T51" fmla="*/ 1899 h 2050"/>
                <a:gd name="T52" fmla="*/ 6505 w 8720"/>
                <a:gd name="T53" fmla="*/ 1921 h 2050"/>
                <a:gd name="T54" fmla="*/ 6769 w 8720"/>
                <a:gd name="T55" fmla="*/ 1628 h 2050"/>
                <a:gd name="T56" fmla="*/ 8698 w 8720"/>
                <a:gd name="T57" fmla="*/ 985 h 2050"/>
                <a:gd name="T58" fmla="*/ 8484 w 8720"/>
                <a:gd name="T59" fmla="*/ 747 h 2050"/>
                <a:gd name="T60" fmla="*/ 8083 w 8720"/>
                <a:gd name="T61" fmla="*/ 806 h 2050"/>
                <a:gd name="T62" fmla="*/ 7885 w 8720"/>
                <a:gd name="T63" fmla="*/ 840 h 2050"/>
                <a:gd name="T64" fmla="*/ 7630 w 8720"/>
                <a:gd name="T65" fmla="*/ 721 h 2050"/>
                <a:gd name="T66" fmla="*/ 7324 w 8720"/>
                <a:gd name="T67" fmla="*/ 871 h 2050"/>
                <a:gd name="T68" fmla="*/ 7270 w 8720"/>
                <a:gd name="T69" fmla="*/ 1283 h 2050"/>
                <a:gd name="T70" fmla="*/ 7447 w 8720"/>
                <a:gd name="T71" fmla="*/ 1034 h 2050"/>
                <a:gd name="T72" fmla="*/ 7645 w 8720"/>
                <a:gd name="T73" fmla="*/ 1211 h 2050"/>
                <a:gd name="T74" fmla="*/ 8034 w 8720"/>
                <a:gd name="T75" fmla="*/ 1138 h 2050"/>
                <a:gd name="T76" fmla="*/ 8289 w 8720"/>
                <a:gd name="T77" fmla="*/ 1046 h 2050"/>
                <a:gd name="T78" fmla="*/ 8377 w 8720"/>
                <a:gd name="T79" fmla="*/ 1938 h 2050"/>
                <a:gd name="T80" fmla="*/ 2458 w 8720"/>
                <a:gd name="T81" fmla="*/ 483 h 2050"/>
                <a:gd name="T82" fmla="*/ 2107 w 8720"/>
                <a:gd name="T83" fmla="*/ 1483 h 2050"/>
                <a:gd name="T84" fmla="*/ 2152 w 8720"/>
                <a:gd name="T85" fmla="*/ 299 h 2050"/>
                <a:gd name="T86" fmla="*/ 2419 w 8720"/>
                <a:gd name="T87" fmla="*/ 83 h 2050"/>
                <a:gd name="T88" fmla="*/ 2622 w 8720"/>
                <a:gd name="T89" fmla="*/ 369 h 2050"/>
                <a:gd name="T90" fmla="*/ 1130 w 8720"/>
                <a:gd name="T91" fmla="*/ 2050 h 2050"/>
                <a:gd name="T92" fmla="*/ 570 w 8720"/>
                <a:gd name="T93" fmla="*/ 1915 h 2050"/>
                <a:gd name="T94" fmla="*/ 120 w 8720"/>
                <a:gd name="T95" fmla="*/ 1452 h 2050"/>
                <a:gd name="T96" fmla="*/ 8 w 8720"/>
                <a:gd name="T97" fmla="*/ 822 h 2050"/>
                <a:gd name="T98" fmla="*/ 222 w 8720"/>
                <a:gd name="T99" fmla="*/ 289 h 2050"/>
                <a:gd name="T100" fmla="*/ 690 w 8720"/>
                <a:gd name="T101" fmla="*/ 389 h 2050"/>
                <a:gd name="T102" fmla="*/ 424 w 8720"/>
                <a:gd name="T103" fmla="*/ 782 h 2050"/>
                <a:gd name="T104" fmla="*/ 460 w 8720"/>
                <a:gd name="T105" fmla="*/ 1242 h 2050"/>
                <a:gd name="T106" fmla="*/ 783 w 8720"/>
                <a:gd name="T107" fmla="*/ 1573 h 2050"/>
                <a:gd name="T108" fmla="*/ 1246 w 8720"/>
                <a:gd name="T109" fmla="*/ 1632 h 2050"/>
                <a:gd name="T110" fmla="*/ 745 w 8720"/>
                <a:gd name="T111" fmla="*/ 1453 h 2050"/>
                <a:gd name="T112" fmla="*/ 1347 w 8720"/>
                <a:gd name="T113" fmla="*/ 1509 h 2050"/>
                <a:gd name="T114" fmla="*/ 1693 w 8720"/>
                <a:gd name="T115" fmla="*/ 1099 h 2050"/>
                <a:gd name="T116" fmla="*/ 1523 w 8720"/>
                <a:gd name="T117" fmla="*/ 505 h 2050"/>
                <a:gd name="T118" fmla="*/ 1152 w 8720"/>
                <a:gd name="T119" fmla="*/ 342 h 2050"/>
                <a:gd name="T120" fmla="*/ 691 w 8720"/>
                <a:gd name="T121" fmla="*/ 497 h 2050"/>
                <a:gd name="T122" fmla="*/ 491 w 8720"/>
                <a:gd name="T123" fmla="*/ 1037 h 2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720" h="2050">
                  <a:moveTo>
                    <a:pt x="3554" y="1338"/>
                  </a:moveTo>
                  <a:lnTo>
                    <a:pt x="3553" y="1299"/>
                  </a:lnTo>
                  <a:lnTo>
                    <a:pt x="3550" y="1263"/>
                  </a:lnTo>
                  <a:lnTo>
                    <a:pt x="3546" y="1228"/>
                  </a:lnTo>
                  <a:lnTo>
                    <a:pt x="3538" y="1196"/>
                  </a:lnTo>
                  <a:lnTo>
                    <a:pt x="3529" y="1165"/>
                  </a:lnTo>
                  <a:lnTo>
                    <a:pt x="3518" y="1137"/>
                  </a:lnTo>
                  <a:lnTo>
                    <a:pt x="3511" y="1124"/>
                  </a:lnTo>
                  <a:lnTo>
                    <a:pt x="3504" y="1112"/>
                  </a:lnTo>
                  <a:lnTo>
                    <a:pt x="3490" y="1088"/>
                  </a:lnTo>
                  <a:lnTo>
                    <a:pt x="3473" y="1068"/>
                  </a:lnTo>
                  <a:lnTo>
                    <a:pt x="3454" y="1049"/>
                  </a:lnTo>
                  <a:lnTo>
                    <a:pt x="3436" y="1034"/>
                  </a:lnTo>
                  <a:lnTo>
                    <a:pt x="3413" y="1022"/>
                  </a:lnTo>
                  <a:lnTo>
                    <a:pt x="3390" y="1012"/>
                  </a:lnTo>
                  <a:lnTo>
                    <a:pt x="3366" y="1004"/>
                  </a:lnTo>
                  <a:lnTo>
                    <a:pt x="3339" y="1000"/>
                  </a:lnTo>
                  <a:lnTo>
                    <a:pt x="3311" y="998"/>
                  </a:lnTo>
                  <a:lnTo>
                    <a:pt x="3283" y="1000"/>
                  </a:lnTo>
                  <a:lnTo>
                    <a:pt x="3257" y="1004"/>
                  </a:lnTo>
                  <a:lnTo>
                    <a:pt x="3232" y="1012"/>
                  </a:lnTo>
                  <a:lnTo>
                    <a:pt x="3209" y="1022"/>
                  </a:lnTo>
                  <a:lnTo>
                    <a:pt x="3187" y="1035"/>
                  </a:lnTo>
                  <a:lnTo>
                    <a:pt x="3166" y="1051"/>
                  </a:lnTo>
                  <a:lnTo>
                    <a:pt x="3148" y="1069"/>
                  </a:lnTo>
                  <a:lnTo>
                    <a:pt x="3130" y="1091"/>
                  </a:lnTo>
                  <a:lnTo>
                    <a:pt x="3116" y="1114"/>
                  </a:lnTo>
                  <a:lnTo>
                    <a:pt x="3102" y="1139"/>
                  </a:lnTo>
                  <a:lnTo>
                    <a:pt x="3090" y="1167"/>
                  </a:lnTo>
                  <a:lnTo>
                    <a:pt x="3081" y="1197"/>
                  </a:lnTo>
                  <a:lnTo>
                    <a:pt x="3073" y="1228"/>
                  </a:lnTo>
                  <a:lnTo>
                    <a:pt x="3068" y="1263"/>
                  </a:lnTo>
                  <a:lnTo>
                    <a:pt x="3065" y="1298"/>
                  </a:lnTo>
                  <a:lnTo>
                    <a:pt x="3063" y="1336"/>
                  </a:lnTo>
                  <a:lnTo>
                    <a:pt x="3065" y="1374"/>
                  </a:lnTo>
                  <a:lnTo>
                    <a:pt x="3068" y="1409"/>
                  </a:lnTo>
                  <a:lnTo>
                    <a:pt x="3073" y="1444"/>
                  </a:lnTo>
                  <a:lnTo>
                    <a:pt x="3081" y="1477"/>
                  </a:lnTo>
                  <a:lnTo>
                    <a:pt x="3091" y="1507"/>
                  </a:lnTo>
                  <a:lnTo>
                    <a:pt x="3102" y="1536"/>
                  </a:lnTo>
                  <a:lnTo>
                    <a:pt x="3117" y="1562"/>
                  </a:lnTo>
                  <a:lnTo>
                    <a:pt x="3132" y="1586"/>
                  </a:lnTo>
                  <a:lnTo>
                    <a:pt x="3149" y="1607"/>
                  </a:lnTo>
                  <a:lnTo>
                    <a:pt x="3169" y="1626"/>
                  </a:lnTo>
                  <a:lnTo>
                    <a:pt x="3189" y="1643"/>
                  </a:lnTo>
                  <a:lnTo>
                    <a:pt x="3211" y="1656"/>
                  </a:lnTo>
                  <a:lnTo>
                    <a:pt x="3236" y="1667"/>
                  </a:lnTo>
                  <a:lnTo>
                    <a:pt x="3261" y="1675"/>
                  </a:lnTo>
                  <a:lnTo>
                    <a:pt x="3288" y="1679"/>
                  </a:lnTo>
                  <a:lnTo>
                    <a:pt x="3317" y="1680"/>
                  </a:lnTo>
                  <a:lnTo>
                    <a:pt x="3343" y="1679"/>
                  </a:lnTo>
                  <a:lnTo>
                    <a:pt x="3369" y="1675"/>
                  </a:lnTo>
                  <a:lnTo>
                    <a:pt x="3393" y="1667"/>
                  </a:lnTo>
                  <a:lnTo>
                    <a:pt x="3417" y="1657"/>
                  </a:lnTo>
                  <a:lnTo>
                    <a:pt x="3438" y="1644"/>
                  </a:lnTo>
                  <a:lnTo>
                    <a:pt x="3458" y="1628"/>
                  </a:lnTo>
                  <a:lnTo>
                    <a:pt x="3476" y="1609"/>
                  </a:lnTo>
                  <a:lnTo>
                    <a:pt x="3491" y="1588"/>
                  </a:lnTo>
                  <a:lnTo>
                    <a:pt x="3506" y="1565"/>
                  </a:lnTo>
                  <a:lnTo>
                    <a:pt x="3519" y="1539"/>
                  </a:lnTo>
                  <a:lnTo>
                    <a:pt x="3529" y="1512"/>
                  </a:lnTo>
                  <a:lnTo>
                    <a:pt x="3538" y="1480"/>
                  </a:lnTo>
                  <a:lnTo>
                    <a:pt x="3546" y="1448"/>
                  </a:lnTo>
                  <a:lnTo>
                    <a:pt x="3550" y="1414"/>
                  </a:lnTo>
                  <a:lnTo>
                    <a:pt x="3553" y="1377"/>
                  </a:lnTo>
                  <a:lnTo>
                    <a:pt x="3554" y="1338"/>
                  </a:lnTo>
                  <a:close/>
                  <a:moveTo>
                    <a:pt x="3897" y="1340"/>
                  </a:moveTo>
                  <a:lnTo>
                    <a:pt x="3893" y="1408"/>
                  </a:lnTo>
                  <a:lnTo>
                    <a:pt x="3885" y="1474"/>
                  </a:lnTo>
                  <a:lnTo>
                    <a:pt x="3880" y="1505"/>
                  </a:lnTo>
                  <a:lnTo>
                    <a:pt x="3872" y="1536"/>
                  </a:lnTo>
                  <a:lnTo>
                    <a:pt x="3863" y="1565"/>
                  </a:lnTo>
                  <a:lnTo>
                    <a:pt x="3853" y="1595"/>
                  </a:lnTo>
                  <a:lnTo>
                    <a:pt x="3843" y="1623"/>
                  </a:lnTo>
                  <a:lnTo>
                    <a:pt x="3831" y="1649"/>
                  </a:lnTo>
                  <a:lnTo>
                    <a:pt x="3803" y="1701"/>
                  </a:lnTo>
                  <a:lnTo>
                    <a:pt x="3771" y="1749"/>
                  </a:lnTo>
                  <a:lnTo>
                    <a:pt x="3753" y="1773"/>
                  </a:lnTo>
                  <a:lnTo>
                    <a:pt x="3734" y="1794"/>
                  </a:lnTo>
                  <a:lnTo>
                    <a:pt x="3716" y="1814"/>
                  </a:lnTo>
                  <a:lnTo>
                    <a:pt x="3694" y="1834"/>
                  </a:lnTo>
                  <a:lnTo>
                    <a:pt x="3650" y="1868"/>
                  </a:lnTo>
                  <a:lnTo>
                    <a:pt x="3627" y="1884"/>
                  </a:lnTo>
                  <a:lnTo>
                    <a:pt x="3603" y="1898"/>
                  </a:lnTo>
                  <a:lnTo>
                    <a:pt x="3552" y="1924"/>
                  </a:lnTo>
                  <a:lnTo>
                    <a:pt x="3526" y="1935"/>
                  </a:lnTo>
                  <a:lnTo>
                    <a:pt x="3498" y="1944"/>
                  </a:lnTo>
                  <a:lnTo>
                    <a:pt x="3470" y="1951"/>
                  </a:lnTo>
                  <a:lnTo>
                    <a:pt x="3441" y="1958"/>
                  </a:lnTo>
                  <a:lnTo>
                    <a:pt x="3411" y="1964"/>
                  </a:lnTo>
                  <a:lnTo>
                    <a:pt x="3381" y="1967"/>
                  </a:lnTo>
                  <a:lnTo>
                    <a:pt x="3319" y="1970"/>
                  </a:lnTo>
                  <a:lnTo>
                    <a:pt x="3285" y="1969"/>
                  </a:lnTo>
                  <a:lnTo>
                    <a:pt x="3252" y="1967"/>
                  </a:lnTo>
                  <a:lnTo>
                    <a:pt x="3220" y="1964"/>
                  </a:lnTo>
                  <a:lnTo>
                    <a:pt x="3188" y="1959"/>
                  </a:lnTo>
                  <a:lnTo>
                    <a:pt x="3158" y="1953"/>
                  </a:lnTo>
                  <a:lnTo>
                    <a:pt x="3128" y="1945"/>
                  </a:lnTo>
                  <a:lnTo>
                    <a:pt x="3071" y="1926"/>
                  </a:lnTo>
                  <a:lnTo>
                    <a:pt x="3018" y="1901"/>
                  </a:lnTo>
                  <a:lnTo>
                    <a:pt x="2993" y="1887"/>
                  </a:lnTo>
                  <a:lnTo>
                    <a:pt x="2969" y="1871"/>
                  </a:lnTo>
                  <a:lnTo>
                    <a:pt x="2924" y="1837"/>
                  </a:lnTo>
                  <a:lnTo>
                    <a:pt x="2882" y="1798"/>
                  </a:lnTo>
                  <a:lnTo>
                    <a:pt x="2864" y="1777"/>
                  </a:lnTo>
                  <a:lnTo>
                    <a:pt x="2846" y="1755"/>
                  </a:lnTo>
                  <a:lnTo>
                    <a:pt x="2814" y="1707"/>
                  </a:lnTo>
                  <a:lnTo>
                    <a:pt x="2786" y="1655"/>
                  </a:lnTo>
                  <a:lnTo>
                    <a:pt x="2775" y="1627"/>
                  </a:lnTo>
                  <a:lnTo>
                    <a:pt x="2764" y="1598"/>
                  </a:lnTo>
                  <a:lnTo>
                    <a:pt x="2754" y="1569"/>
                  </a:lnTo>
                  <a:lnTo>
                    <a:pt x="2746" y="1538"/>
                  </a:lnTo>
                  <a:lnTo>
                    <a:pt x="2738" y="1507"/>
                  </a:lnTo>
                  <a:lnTo>
                    <a:pt x="2732" y="1474"/>
                  </a:lnTo>
                  <a:lnTo>
                    <a:pt x="2728" y="1440"/>
                  </a:lnTo>
                  <a:lnTo>
                    <a:pt x="2725" y="1407"/>
                  </a:lnTo>
                  <a:lnTo>
                    <a:pt x="2722" y="1372"/>
                  </a:lnTo>
                  <a:lnTo>
                    <a:pt x="2721" y="1336"/>
                  </a:lnTo>
                  <a:lnTo>
                    <a:pt x="2725" y="1271"/>
                  </a:lnTo>
                  <a:lnTo>
                    <a:pt x="2732" y="1207"/>
                  </a:lnTo>
                  <a:lnTo>
                    <a:pt x="2738" y="1177"/>
                  </a:lnTo>
                  <a:lnTo>
                    <a:pt x="2746" y="1147"/>
                  </a:lnTo>
                  <a:lnTo>
                    <a:pt x="2764" y="1089"/>
                  </a:lnTo>
                  <a:lnTo>
                    <a:pt x="2775" y="1062"/>
                  </a:lnTo>
                  <a:lnTo>
                    <a:pt x="2787" y="1035"/>
                  </a:lnTo>
                  <a:lnTo>
                    <a:pt x="2815" y="983"/>
                  </a:lnTo>
                  <a:lnTo>
                    <a:pt x="2847" y="936"/>
                  </a:lnTo>
                  <a:lnTo>
                    <a:pt x="2865" y="913"/>
                  </a:lnTo>
                  <a:lnTo>
                    <a:pt x="2884" y="892"/>
                  </a:lnTo>
                  <a:lnTo>
                    <a:pt x="2925" y="852"/>
                  </a:lnTo>
                  <a:lnTo>
                    <a:pt x="2969" y="817"/>
                  </a:lnTo>
                  <a:lnTo>
                    <a:pt x="3018" y="786"/>
                  </a:lnTo>
                  <a:lnTo>
                    <a:pt x="3070" y="761"/>
                  </a:lnTo>
                  <a:lnTo>
                    <a:pt x="3098" y="750"/>
                  </a:lnTo>
                  <a:lnTo>
                    <a:pt x="3126" y="741"/>
                  </a:lnTo>
                  <a:lnTo>
                    <a:pt x="3155" y="732"/>
                  </a:lnTo>
                  <a:lnTo>
                    <a:pt x="3185" y="725"/>
                  </a:lnTo>
                  <a:lnTo>
                    <a:pt x="3216" y="721"/>
                  </a:lnTo>
                  <a:lnTo>
                    <a:pt x="3247" y="716"/>
                  </a:lnTo>
                  <a:lnTo>
                    <a:pt x="3311" y="713"/>
                  </a:lnTo>
                  <a:lnTo>
                    <a:pt x="3379" y="716"/>
                  </a:lnTo>
                  <a:lnTo>
                    <a:pt x="3411" y="720"/>
                  </a:lnTo>
                  <a:lnTo>
                    <a:pt x="3443" y="725"/>
                  </a:lnTo>
                  <a:lnTo>
                    <a:pt x="3503" y="740"/>
                  </a:lnTo>
                  <a:lnTo>
                    <a:pt x="3559" y="760"/>
                  </a:lnTo>
                  <a:lnTo>
                    <a:pt x="3586" y="772"/>
                  </a:lnTo>
                  <a:lnTo>
                    <a:pt x="3611" y="785"/>
                  </a:lnTo>
                  <a:lnTo>
                    <a:pt x="3636" y="800"/>
                  </a:lnTo>
                  <a:lnTo>
                    <a:pt x="3660" y="815"/>
                  </a:lnTo>
                  <a:lnTo>
                    <a:pt x="3703" y="851"/>
                  </a:lnTo>
                  <a:lnTo>
                    <a:pt x="3723" y="870"/>
                  </a:lnTo>
                  <a:lnTo>
                    <a:pt x="3743" y="890"/>
                  </a:lnTo>
                  <a:lnTo>
                    <a:pt x="3778" y="934"/>
                  </a:lnTo>
                  <a:lnTo>
                    <a:pt x="3809" y="982"/>
                  </a:lnTo>
                  <a:lnTo>
                    <a:pt x="3835" y="1033"/>
                  </a:lnTo>
                  <a:lnTo>
                    <a:pt x="3857" y="1088"/>
                  </a:lnTo>
                  <a:lnTo>
                    <a:pt x="3867" y="1117"/>
                  </a:lnTo>
                  <a:lnTo>
                    <a:pt x="3874" y="1147"/>
                  </a:lnTo>
                  <a:lnTo>
                    <a:pt x="3887" y="1208"/>
                  </a:lnTo>
                  <a:lnTo>
                    <a:pt x="3894" y="1273"/>
                  </a:lnTo>
                  <a:lnTo>
                    <a:pt x="3897" y="1340"/>
                  </a:lnTo>
                  <a:close/>
                  <a:moveTo>
                    <a:pt x="4810" y="1073"/>
                  </a:moveTo>
                  <a:lnTo>
                    <a:pt x="4769" y="1056"/>
                  </a:lnTo>
                  <a:lnTo>
                    <a:pt x="4732" y="1045"/>
                  </a:lnTo>
                  <a:lnTo>
                    <a:pt x="4694" y="1039"/>
                  </a:lnTo>
                  <a:lnTo>
                    <a:pt x="4653" y="1038"/>
                  </a:lnTo>
                  <a:lnTo>
                    <a:pt x="4619" y="1039"/>
                  </a:lnTo>
                  <a:lnTo>
                    <a:pt x="4586" y="1045"/>
                  </a:lnTo>
                  <a:lnTo>
                    <a:pt x="4555" y="1053"/>
                  </a:lnTo>
                  <a:lnTo>
                    <a:pt x="4526" y="1064"/>
                  </a:lnTo>
                  <a:lnTo>
                    <a:pt x="4501" y="1078"/>
                  </a:lnTo>
                  <a:lnTo>
                    <a:pt x="4476" y="1095"/>
                  </a:lnTo>
                  <a:lnTo>
                    <a:pt x="4453" y="1115"/>
                  </a:lnTo>
                  <a:lnTo>
                    <a:pt x="4433" y="1137"/>
                  </a:lnTo>
                  <a:lnTo>
                    <a:pt x="4415" y="1163"/>
                  </a:lnTo>
                  <a:lnTo>
                    <a:pt x="4400" y="1191"/>
                  </a:lnTo>
                  <a:lnTo>
                    <a:pt x="4386" y="1222"/>
                  </a:lnTo>
                  <a:lnTo>
                    <a:pt x="4375" y="1254"/>
                  </a:lnTo>
                  <a:lnTo>
                    <a:pt x="4366" y="1289"/>
                  </a:lnTo>
                  <a:lnTo>
                    <a:pt x="4361" y="1327"/>
                  </a:lnTo>
                  <a:lnTo>
                    <a:pt x="4356" y="1367"/>
                  </a:lnTo>
                  <a:lnTo>
                    <a:pt x="4355" y="1408"/>
                  </a:lnTo>
                  <a:lnTo>
                    <a:pt x="4355" y="1938"/>
                  </a:lnTo>
                  <a:lnTo>
                    <a:pt x="4017" y="1938"/>
                  </a:lnTo>
                  <a:lnTo>
                    <a:pt x="4017" y="1342"/>
                  </a:lnTo>
                  <a:lnTo>
                    <a:pt x="4017" y="746"/>
                  </a:lnTo>
                  <a:lnTo>
                    <a:pt x="4343" y="746"/>
                  </a:lnTo>
                  <a:lnTo>
                    <a:pt x="4343" y="1017"/>
                  </a:lnTo>
                  <a:lnTo>
                    <a:pt x="4352" y="984"/>
                  </a:lnTo>
                  <a:lnTo>
                    <a:pt x="4363" y="953"/>
                  </a:lnTo>
                  <a:lnTo>
                    <a:pt x="4375" y="923"/>
                  </a:lnTo>
                  <a:lnTo>
                    <a:pt x="4391" y="895"/>
                  </a:lnTo>
                  <a:lnTo>
                    <a:pt x="4408" y="870"/>
                  </a:lnTo>
                  <a:lnTo>
                    <a:pt x="4425" y="846"/>
                  </a:lnTo>
                  <a:lnTo>
                    <a:pt x="4446" y="824"/>
                  </a:lnTo>
                  <a:lnTo>
                    <a:pt x="4468" y="805"/>
                  </a:lnTo>
                  <a:lnTo>
                    <a:pt x="4492" y="787"/>
                  </a:lnTo>
                  <a:lnTo>
                    <a:pt x="4517" y="772"/>
                  </a:lnTo>
                  <a:lnTo>
                    <a:pt x="4544" y="758"/>
                  </a:lnTo>
                  <a:lnTo>
                    <a:pt x="4573" y="748"/>
                  </a:lnTo>
                  <a:lnTo>
                    <a:pt x="4603" y="740"/>
                  </a:lnTo>
                  <a:lnTo>
                    <a:pt x="4635" y="734"/>
                  </a:lnTo>
                  <a:lnTo>
                    <a:pt x="4669" y="730"/>
                  </a:lnTo>
                  <a:lnTo>
                    <a:pt x="4703" y="728"/>
                  </a:lnTo>
                  <a:lnTo>
                    <a:pt x="4753" y="732"/>
                  </a:lnTo>
                  <a:lnTo>
                    <a:pt x="4810" y="741"/>
                  </a:lnTo>
                  <a:lnTo>
                    <a:pt x="4810" y="1073"/>
                  </a:lnTo>
                  <a:close/>
                  <a:moveTo>
                    <a:pt x="5598" y="1938"/>
                  </a:moveTo>
                  <a:lnTo>
                    <a:pt x="5598" y="1670"/>
                  </a:lnTo>
                  <a:lnTo>
                    <a:pt x="5561" y="1678"/>
                  </a:lnTo>
                  <a:lnTo>
                    <a:pt x="5526" y="1683"/>
                  </a:lnTo>
                  <a:lnTo>
                    <a:pt x="5494" y="1685"/>
                  </a:lnTo>
                  <a:lnTo>
                    <a:pt x="5458" y="1686"/>
                  </a:lnTo>
                  <a:lnTo>
                    <a:pt x="5432" y="1685"/>
                  </a:lnTo>
                  <a:lnTo>
                    <a:pt x="5406" y="1683"/>
                  </a:lnTo>
                  <a:lnTo>
                    <a:pt x="5384" y="1679"/>
                  </a:lnTo>
                  <a:lnTo>
                    <a:pt x="5364" y="1674"/>
                  </a:lnTo>
                  <a:lnTo>
                    <a:pt x="5345" y="1667"/>
                  </a:lnTo>
                  <a:lnTo>
                    <a:pt x="5328" y="1658"/>
                  </a:lnTo>
                  <a:lnTo>
                    <a:pt x="5314" y="1648"/>
                  </a:lnTo>
                  <a:lnTo>
                    <a:pt x="5302" y="1636"/>
                  </a:lnTo>
                  <a:lnTo>
                    <a:pt x="5292" y="1622"/>
                  </a:lnTo>
                  <a:lnTo>
                    <a:pt x="5282" y="1605"/>
                  </a:lnTo>
                  <a:lnTo>
                    <a:pt x="5275" y="1587"/>
                  </a:lnTo>
                  <a:lnTo>
                    <a:pt x="5268" y="1566"/>
                  </a:lnTo>
                  <a:lnTo>
                    <a:pt x="5262" y="1517"/>
                  </a:lnTo>
                  <a:lnTo>
                    <a:pt x="5258" y="1459"/>
                  </a:lnTo>
                  <a:lnTo>
                    <a:pt x="5258" y="1026"/>
                  </a:lnTo>
                  <a:lnTo>
                    <a:pt x="5583" y="1026"/>
                  </a:lnTo>
                  <a:lnTo>
                    <a:pt x="5583" y="755"/>
                  </a:lnTo>
                  <a:lnTo>
                    <a:pt x="5258" y="755"/>
                  </a:lnTo>
                  <a:lnTo>
                    <a:pt x="5258" y="365"/>
                  </a:lnTo>
                  <a:lnTo>
                    <a:pt x="4920" y="556"/>
                  </a:lnTo>
                  <a:lnTo>
                    <a:pt x="4920" y="1037"/>
                  </a:lnTo>
                  <a:lnTo>
                    <a:pt x="4920" y="1519"/>
                  </a:lnTo>
                  <a:lnTo>
                    <a:pt x="4921" y="1575"/>
                  </a:lnTo>
                  <a:lnTo>
                    <a:pt x="4926" y="1627"/>
                  </a:lnTo>
                  <a:lnTo>
                    <a:pt x="4935" y="1674"/>
                  </a:lnTo>
                  <a:lnTo>
                    <a:pt x="4946" y="1718"/>
                  </a:lnTo>
                  <a:lnTo>
                    <a:pt x="4962" y="1758"/>
                  </a:lnTo>
                  <a:lnTo>
                    <a:pt x="4981" y="1794"/>
                  </a:lnTo>
                  <a:lnTo>
                    <a:pt x="5003" y="1826"/>
                  </a:lnTo>
                  <a:lnTo>
                    <a:pt x="5030" y="1855"/>
                  </a:lnTo>
                  <a:lnTo>
                    <a:pt x="5044" y="1868"/>
                  </a:lnTo>
                  <a:lnTo>
                    <a:pt x="5060" y="1880"/>
                  </a:lnTo>
                  <a:lnTo>
                    <a:pt x="5093" y="1901"/>
                  </a:lnTo>
                  <a:lnTo>
                    <a:pt x="5130" y="1920"/>
                  </a:lnTo>
                  <a:lnTo>
                    <a:pt x="5171" y="1935"/>
                  </a:lnTo>
                  <a:lnTo>
                    <a:pt x="5216" y="1946"/>
                  </a:lnTo>
                  <a:lnTo>
                    <a:pt x="5265" y="1954"/>
                  </a:lnTo>
                  <a:lnTo>
                    <a:pt x="5317" y="1959"/>
                  </a:lnTo>
                  <a:lnTo>
                    <a:pt x="5374" y="1960"/>
                  </a:lnTo>
                  <a:lnTo>
                    <a:pt x="5431" y="1959"/>
                  </a:lnTo>
                  <a:lnTo>
                    <a:pt x="5484" y="1956"/>
                  </a:lnTo>
                  <a:lnTo>
                    <a:pt x="5538" y="1949"/>
                  </a:lnTo>
                  <a:lnTo>
                    <a:pt x="5598" y="1938"/>
                  </a:lnTo>
                  <a:close/>
                  <a:moveTo>
                    <a:pt x="6796" y="1358"/>
                  </a:moveTo>
                  <a:lnTo>
                    <a:pt x="6796" y="746"/>
                  </a:lnTo>
                  <a:lnTo>
                    <a:pt x="6457" y="746"/>
                  </a:lnTo>
                  <a:lnTo>
                    <a:pt x="6457" y="1358"/>
                  </a:lnTo>
                  <a:lnTo>
                    <a:pt x="6455" y="1440"/>
                  </a:lnTo>
                  <a:lnTo>
                    <a:pt x="6451" y="1476"/>
                  </a:lnTo>
                  <a:lnTo>
                    <a:pt x="6447" y="1508"/>
                  </a:lnTo>
                  <a:lnTo>
                    <a:pt x="6441" y="1538"/>
                  </a:lnTo>
                  <a:lnTo>
                    <a:pt x="6435" y="1564"/>
                  </a:lnTo>
                  <a:lnTo>
                    <a:pt x="6426" y="1587"/>
                  </a:lnTo>
                  <a:lnTo>
                    <a:pt x="6415" y="1607"/>
                  </a:lnTo>
                  <a:lnTo>
                    <a:pt x="6402" y="1624"/>
                  </a:lnTo>
                  <a:lnTo>
                    <a:pt x="6388" y="1639"/>
                  </a:lnTo>
                  <a:lnTo>
                    <a:pt x="6373" y="1650"/>
                  </a:lnTo>
                  <a:lnTo>
                    <a:pt x="6355" y="1660"/>
                  </a:lnTo>
                  <a:lnTo>
                    <a:pt x="6334" y="1668"/>
                  </a:lnTo>
                  <a:lnTo>
                    <a:pt x="6311" y="1673"/>
                  </a:lnTo>
                  <a:lnTo>
                    <a:pt x="6287" y="1676"/>
                  </a:lnTo>
                  <a:lnTo>
                    <a:pt x="6259" y="1677"/>
                  </a:lnTo>
                  <a:lnTo>
                    <a:pt x="6231" y="1676"/>
                  </a:lnTo>
                  <a:lnTo>
                    <a:pt x="6206" y="1673"/>
                  </a:lnTo>
                  <a:lnTo>
                    <a:pt x="6181" y="1668"/>
                  </a:lnTo>
                  <a:lnTo>
                    <a:pt x="6160" y="1660"/>
                  </a:lnTo>
                  <a:lnTo>
                    <a:pt x="6141" y="1652"/>
                  </a:lnTo>
                  <a:lnTo>
                    <a:pt x="6124" y="1640"/>
                  </a:lnTo>
                  <a:lnTo>
                    <a:pt x="6109" y="1626"/>
                  </a:lnTo>
                  <a:lnTo>
                    <a:pt x="6096" y="1609"/>
                  </a:lnTo>
                  <a:lnTo>
                    <a:pt x="6085" y="1590"/>
                  </a:lnTo>
                  <a:lnTo>
                    <a:pt x="6075" y="1569"/>
                  </a:lnTo>
                  <a:lnTo>
                    <a:pt x="6067" y="1545"/>
                  </a:lnTo>
                  <a:lnTo>
                    <a:pt x="6060" y="1517"/>
                  </a:lnTo>
                  <a:lnTo>
                    <a:pt x="6056" y="1487"/>
                  </a:lnTo>
                  <a:lnTo>
                    <a:pt x="6053" y="1454"/>
                  </a:lnTo>
                  <a:lnTo>
                    <a:pt x="6050" y="1417"/>
                  </a:lnTo>
                  <a:lnTo>
                    <a:pt x="6049" y="1378"/>
                  </a:lnTo>
                  <a:lnTo>
                    <a:pt x="6049" y="746"/>
                  </a:lnTo>
                  <a:lnTo>
                    <a:pt x="5710" y="746"/>
                  </a:lnTo>
                  <a:lnTo>
                    <a:pt x="5710" y="1373"/>
                  </a:lnTo>
                  <a:lnTo>
                    <a:pt x="5713" y="1465"/>
                  </a:lnTo>
                  <a:lnTo>
                    <a:pt x="5715" y="1505"/>
                  </a:lnTo>
                  <a:lnTo>
                    <a:pt x="5718" y="1544"/>
                  </a:lnTo>
                  <a:lnTo>
                    <a:pt x="5729" y="1612"/>
                  </a:lnTo>
                  <a:lnTo>
                    <a:pt x="5737" y="1643"/>
                  </a:lnTo>
                  <a:lnTo>
                    <a:pt x="5746" y="1671"/>
                  </a:lnTo>
                  <a:lnTo>
                    <a:pt x="5756" y="1698"/>
                  </a:lnTo>
                  <a:lnTo>
                    <a:pt x="5768" y="1723"/>
                  </a:lnTo>
                  <a:lnTo>
                    <a:pt x="5780" y="1747"/>
                  </a:lnTo>
                  <a:lnTo>
                    <a:pt x="5796" y="1769"/>
                  </a:lnTo>
                  <a:lnTo>
                    <a:pt x="5812" y="1790"/>
                  </a:lnTo>
                  <a:lnTo>
                    <a:pt x="5830" y="1810"/>
                  </a:lnTo>
                  <a:lnTo>
                    <a:pt x="5849" y="1829"/>
                  </a:lnTo>
                  <a:lnTo>
                    <a:pt x="5872" y="1848"/>
                  </a:lnTo>
                  <a:lnTo>
                    <a:pt x="5889" y="1863"/>
                  </a:lnTo>
                  <a:lnTo>
                    <a:pt x="5908" y="1876"/>
                  </a:lnTo>
                  <a:lnTo>
                    <a:pt x="5928" y="1888"/>
                  </a:lnTo>
                  <a:lnTo>
                    <a:pt x="5949" y="1899"/>
                  </a:lnTo>
                  <a:lnTo>
                    <a:pt x="5972" y="1909"/>
                  </a:lnTo>
                  <a:lnTo>
                    <a:pt x="5994" y="1919"/>
                  </a:lnTo>
                  <a:lnTo>
                    <a:pt x="6040" y="1936"/>
                  </a:lnTo>
                  <a:lnTo>
                    <a:pt x="6091" y="1949"/>
                  </a:lnTo>
                  <a:lnTo>
                    <a:pt x="6144" y="1958"/>
                  </a:lnTo>
                  <a:lnTo>
                    <a:pt x="6199" y="1964"/>
                  </a:lnTo>
                  <a:lnTo>
                    <a:pt x="6257" y="1966"/>
                  </a:lnTo>
                  <a:lnTo>
                    <a:pt x="6325" y="1963"/>
                  </a:lnTo>
                  <a:lnTo>
                    <a:pt x="6388" y="1955"/>
                  </a:lnTo>
                  <a:lnTo>
                    <a:pt x="6419" y="1948"/>
                  </a:lnTo>
                  <a:lnTo>
                    <a:pt x="6448" y="1940"/>
                  </a:lnTo>
                  <a:lnTo>
                    <a:pt x="6505" y="1921"/>
                  </a:lnTo>
                  <a:lnTo>
                    <a:pt x="6531" y="1910"/>
                  </a:lnTo>
                  <a:lnTo>
                    <a:pt x="6557" y="1898"/>
                  </a:lnTo>
                  <a:lnTo>
                    <a:pt x="6605" y="1869"/>
                  </a:lnTo>
                  <a:lnTo>
                    <a:pt x="6626" y="1853"/>
                  </a:lnTo>
                  <a:lnTo>
                    <a:pt x="6647" y="1835"/>
                  </a:lnTo>
                  <a:lnTo>
                    <a:pt x="6667" y="1816"/>
                  </a:lnTo>
                  <a:lnTo>
                    <a:pt x="6685" y="1796"/>
                  </a:lnTo>
                  <a:lnTo>
                    <a:pt x="6699" y="1779"/>
                  </a:lnTo>
                  <a:lnTo>
                    <a:pt x="6712" y="1760"/>
                  </a:lnTo>
                  <a:lnTo>
                    <a:pt x="6735" y="1721"/>
                  </a:lnTo>
                  <a:lnTo>
                    <a:pt x="6755" y="1678"/>
                  </a:lnTo>
                  <a:lnTo>
                    <a:pt x="6769" y="1628"/>
                  </a:lnTo>
                  <a:lnTo>
                    <a:pt x="6781" y="1573"/>
                  </a:lnTo>
                  <a:lnTo>
                    <a:pt x="6786" y="1542"/>
                  </a:lnTo>
                  <a:lnTo>
                    <a:pt x="6790" y="1509"/>
                  </a:lnTo>
                  <a:lnTo>
                    <a:pt x="6795" y="1438"/>
                  </a:lnTo>
                  <a:lnTo>
                    <a:pt x="6796" y="1358"/>
                  </a:lnTo>
                  <a:close/>
                  <a:moveTo>
                    <a:pt x="8720" y="1938"/>
                  </a:moveTo>
                  <a:lnTo>
                    <a:pt x="8720" y="1254"/>
                  </a:lnTo>
                  <a:lnTo>
                    <a:pt x="8718" y="1185"/>
                  </a:lnTo>
                  <a:lnTo>
                    <a:pt x="8716" y="1124"/>
                  </a:lnTo>
                  <a:lnTo>
                    <a:pt x="8712" y="1072"/>
                  </a:lnTo>
                  <a:lnTo>
                    <a:pt x="8706" y="1025"/>
                  </a:lnTo>
                  <a:lnTo>
                    <a:pt x="8698" y="985"/>
                  </a:lnTo>
                  <a:lnTo>
                    <a:pt x="8688" y="950"/>
                  </a:lnTo>
                  <a:lnTo>
                    <a:pt x="8676" y="918"/>
                  </a:lnTo>
                  <a:lnTo>
                    <a:pt x="8662" y="891"/>
                  </a:lnTo>
                  <a:lnTo>
                    <a:pt x="8650" y="871"/>
                  </a:lnTo>
                  <a:lnTo>
                    <a:pt x="8636" y="853"/>
                  </a:lnTo>
                  <a:lnTo>
                    <a:pt x="8622" y="836"/>
                  </a:lnTo>
                  <a:lnTo>
                    <a:pt x="8605" y="820"/>
                  </a:lnTo>
                  <a:lnTo>
                    <a:pt x="8589" y="805"/>
                  </a:lnTo>
                  <a:lnTo>
                    <a:pt x="8570" y="791"/>
                  </a:lnTo>
                  <a:lnTo>
                    <a:pt x="8529" y="766"/>
                  </a:lnTo>
                  <a:lnTo>
                    <a:pt x="8506" y="756"/>
                  </a:lnTo>
                  <a:lnTo>
                    <a:pt x="8484" y="747"/>
                  </a:lnTo>
                  <a:lnTo>
                    <a:pt x="8436" y="733"/>
                  </a:lnTo>
                  <a:lnTo>
                    <a:pt x="8385" y="724"/>
                  </a:lnTo>
                  <a:lnTo>
                    <a:pt x="8332" y="721"/>
                  </a:lnTo>
                  <a:lnTo>
                    <a:pt x="8300" y="722"/>
                  </a:lnTo>
                  <a:lnTo>
                    <a:pt x="8269" y="725"/>
                  </a:lnTo>
                  <a:lnTo>
                    <a:pt x="8239" y="731"/>
                  </a:lnTo>
                  <a:lnTo>
                    <a:pt x="8210" y="737"/>
                  </a:lnTo>
                  <a:lnTo>
                    <a:pt x="8182" y="747"/>
                  </a:lnTo>
                  <a:lnTo>
                    <a:pt x="8155" y="758"/>
                  </a:lnTo>
                  <a:lnTo>
                    <a:pt x="8130" y="772"/>
                  </a:lnTo>
                  <a:lnTo>
                    <a:pt x="8106" y="788"/>
                  </a:lnTo>
                  <a:lnTo>
                    <a:pt x="8083" y="806"/>
                  </a:lnTo>
                  <a:lnTo>
                    <a:pt x="8061" y="827"/>
                  </a:lnTo>
                  <a:lnTo>
                    <a:pt x="8040" y="850"/>
                  </a:lnTo>
                  <a:lnTo>
                    <a:pt x="8021" y="874"/>
                  </a:lnTo>
                  <a:lnTo>
                    <a:pt x="8002" y="902"/>
                  </a:lnTo>
                  <a:lnTo>
                    <a:pt x="7984" y="931"/>
                  </a:lnTo>
                  <a:lnTo>
                    <a:pt x="7968" y="963"/>
                  </a:lnTo>
                  <a:lnTo>
                    <a:pt x="7951" y="997"/>
                  </a:lnTo>
                  <a:lnTo>
                    <a:pt x="7942" y="964"/>
                  </a:lnTo>
                  <a:lnTo>
                    <a:pt x="7932" y="933"/>
                  </a:lnTo>
                  <a:lnTo>
                    <a:pt x="7908" y="876"/>
                  </a:lnTo>
                  <a:lnTo>
                    <a:pt x="7893" y="852"/>
                  </a:lnTo>
                  <a:lnTo>
                    <a:pt x="7885" y="840"/>
                  </a:lnTo>
                  <a:lnTo>
                    <a:pt x="7877" y="828"/>
                  </a:lnTo>
                  <a:lnTo>
                    <a:pt x="7869" y="818"/>
                  </a:lnTo>
                  <a:lnTo>
                    <a:pt x="7859" y="808"/>
                  </a:lnTo>
                  <a:lnTo>
                    <a:pt x="7840" y="791"/>
                  </a:lnTo>
                  <a:lnTo>
                    <a:pt x="7820" y="774"/>
                  </a:lnTo>
                  <a:lnTo>
                    <a:pt x="7798" y="760"/>
                  </a:lnTo>
                  <a:lnTo>
                    <a:pt x="7773" y="748"/>
                  </a:lnTo>
                  <a:lnTo>
                    <a:pt x="7748" y="738"/>
                  </a:lnTo>
                  <a:lnTo>
                    <a:pt x="7721" y="731"/>
                  </a:lnTo>
                  <a:lnTo>
                    <a:pt x="7692" y="725"/>
                  </a:lnTo>
                  <a:lnTo>
                    <a:pt x="7662" y="722"/>
                  </a:lnTo>
                  <a:lnTo>
                    <a:pt x="7630" y="721"/>
                  </a:lnTo>
                  <a:lnTo>
                    <a:pt x="7598" y="722"/>
                  </a:lnTo>
                  <a:lnTo>
                    <a:pt x="7567" y="725"/>
                  </a:lnTo>
                  <a:lnTo>
                    <a:pt x="7537" y="730"/>
                  </a:lnTo>
                  <a:lnTo>
                    <a:pt x="7509" y="737"/>
                  </a:lnTo>
                  <a:lnTo>
                    <a:pt x="7481" y="746"/>
                  </a:lnTo>
                  <a:lnTo>
                    <a:pt x="7456" y="757"/>
                  </a:lnTo>
                  <a:lnTo>
                    <a:pt x="7431" y="771"/>
                  </a:lnTo>
                  <a:lnTo>
                    <a:pt x="7408" y="786"/>
                  </a:lnTo>
                  <a:lnTo>
                    <a:pt x="7386" y="804"/>
                  </a:lnTo>
                  <a:lnTo>
                    <a:pt x="7364" y="824"/>
                  </a:lnTo>
                  <a:lnTo>
                    <a:pt x="7344" y="846"/>
                  </a:lnTo>
                  <a:lnTo>
                    <a:pt x="7324" y="871"/>
                  </a:lnTo>
                  <a:lnTo>
                    <a:pt x="7307" y="896"/>
                  </a:lnTo>
                  <a:lnTo>
                    <a:pt x="7288" y="925"/>
                  </a:lnTo>
                  <a:lnTo>
                    <a:pt x="7270" y="956"/>
                  </a:lnTo>
                  <a:lnTo>
                    <a:pt x="7253" y="990"/>
                  </a:lnTo>
                  <a:lnTo>
                    <a:pt x="7253" y="746"/>
                  </a:lnTo>
                  <a:lnTo>
                    <a:pt x="6927" y="746"/>
                  </a:lnTo>
                  <a:lnTo>
                    <a:pt x="6927" y="1342"/>
                  </a:lnTo>
                  <a:lnTo>
                    <a:pt x="6927" y="1938"/>
                  </a:lnTo>
                  <a:lnTo>
                    <a:pt x="7266" y="1938"/>
                  </a:lnTo>
                  <a:lnTo>
                    <a:pt x="7266" y="1384"/>
                  </a:lnTo>
                  <a:lnTo>
                    <a:pt x="7267" y="1329"/>
                  </a:lnTo>
                  <a:lnTo>
                    <a:pt x="7270" y="1283"/>
                  </a:lnTo>
                  <a:lnTo>
                    <a:pt x="7276" y="1242"/>
                  </a:lnTo>
                  <a:lnTo>
                    <a:pt x="7283" y="1207"/>
                  </a:lnTo>
                  <a:lnTo>
                    <a:pt x="7290" y="1187"/>
                  </a:lnTo>
                  <a:lnTo>
                    <a:pt x="7297" y="1169"/>
                  </a:lnTo>
                  <a:lnTo>
                    <a:pt x="7314" y="1135"/>
                  </a:lnTo>
                  <a:lnTo>
                    <a:pt x="7323" y="1118"/>
                  </a:lnTo>
                  <a:lnTo>
                    <a:pt x="7334" y="1104"/>
                  </a:lnTo>
                  <a:lnTo>
                    <a:pt x="7359" y="1078"/>
                  </a:lnTo>
                  <a:lnTo>
                    <a:pt x="7386" y="1058"/>
                  </a:lnTo>
                  <a:lnTo>
                    <a:pt x="7416" y="1043"/>
                  </a:lnTo>
                  <a:lnTo>
                    <a:pt x="7431" y="1037"/>
                  </a:lnTo>
                  <a:lnTo>
                    <a:pt x="7447" y="1034"/>
                  </a:lnTo>
                  <a:lnTo>
                    <a:pt x="7481" y="1031"/>
                  </a:lnTo>
                  <a:lnTo>
                    <a:pt x="7506" y="1032"/>
                  </a:lnTo>
                  <a:lnTo>
                    <a:pt x="7530" y="1037"/>
                  </a:lnTo>
                  <a:lnTo>
                    <a:pt x="7551" y="1045"/>
                  </a:lnTo>
                  <a:lnTo>
                    <a:pt x="7570" y="1056"/>
                  </a:lnTo>
                  <a:lnTo>
                    <a:pt x="7588" y="1069"/>
                  </a:lnTo>
                  <a:lnTo>
                    <a:pt x="7602" y="1086"/>
                  </a:lnTo>
                  <a:lnTo>
                    <a:pt x="7615" y="1106"/>
                  </a:lnTo>
                  <a:lnTo>
                    <a:pt x="7621" y="1116"/>
                  </a:lnTo>
                  <a:lnTo>
                    <a:pt x="7625" y="1127"/>
                  </a:lnTo>
                  <a:lnTo>
                    <a:pt x="7638" y="1165"/>
                  </a:lnTo>
                  <a:lnTo>
                    <a:pt x="7645" y="1211"/>
                  </a:lnTo>
                  <a:lnTo>
                    <a:pt x="7650" y="1268"/>
                  </a:lnTo>
                  <a:lnTo>
                    <a:pt x="7651" y="1342"/>
                  </a:lnTo>
                  <a:lnTo>
                    <a:pt x="7651" y="1938"/>
                  </a:lnTo>
                  <a:lnTo>
                    <a:pt x="7993" y="1938"/>
                  </a:lnTo>
                  <a:lnTo>
                    <a:pt x="7993" y="1364"/>
                  </a:lnTo>
                  <a:lnTo>
                    <a:pt x="7993" y="1325"/>
                  </a:lnTo>
                  <a:lnTo>
                    <a:pt x="7996" y="1287"/>
                  </a:lnTo>
                  <a:lnTo>
                    <a:pt x="8000" y="1253"/>
                  </a:lnTo>
                  <a:lnTo>
                    <a:pt x="8006" y="1221"/>
                  </a:lnTo>
                  <a:lnTo>
                    <a:pt x="8014" y="1191"/>
                  </a:lnTo>
                  <a:lnTo>
                    <a:pt x="8023" y="1164"/>
                  </a:lnTo>
                  <a:lnTo>
                    <a:pt x="8034" y="1138"/>
                  </a:lnTo>
                  <a:lnTo>
                    <a:pt x="8046" y="1116"/>
                  </a:lnTo>
                  <a:lnTo>
                    <a:pt x="8061" y="1096"/>
                  </a:lnTo>
                  <a:lnTo>
                    <a:pt x="8078" y="1079"/>
                  </a:lnTo>
                  <a:lnTo>
                    <a:pt x="8095" y="1064"/>
                  </a:lnTo>
                  <a:lnTo>
                    <a:pt x="8114" y="1052"/>
                  </a:lnTo>
                  <a:lnTo>
                    <a:pt x="8135" y="1043"/>
                  </a:lnTo>
                  <a:lnTo>
                    <a:pt x="8158" y="1036"/>
                  </a:lnTo>
                  <a:lnTo>
                    <a:pt x="8182" y="1032"/>
                  </a:lnTo>
                  <a:lnTo>
                    <a:pt x="8208" y="1031"/>
                  </a:lnTo>
                  <a:lnTo>
                    <a:pt x="8238" y="1032"/>
                  </a:lnTo>
                  <a:lnTo>
                    <a:pt x="8264" y="1037"/>
                  </a:lnTo>
                  <a:lnTo>
                    <a:pt x="8289" y="1046"/>
                  </a:lnTo>
                  <a:lnTo>
                    <a:pt x="8310" y="1058"/>
                  </a:lnTo>
                  <a:lnTo>
                    <a:pt x="8320" y="1066"/>
                  </a:lnTo>
                  <a:lnTo>
                    <a:pt x="8329" y="1075"/>
                  </a:lnTo>
                  <a:lnTo>
                    <a:pt x="8336" y="1084"/>
                  </a:lnTo>
                  <a:lnTo>
                    <a:pt x="8343" y="1095"/>
                  </a:lnTo>
                  <a:lnTo>
                    <a:pt x="8356" y="1118"/>
                  </a:lnTo>
                  <a:lnTo>
                    <a:pt x="8365" y="1146"/>
                  </a:lnTo>
                  <a:lnTo>
                    <a:pt x="8370" y="1178"/>
                  </a:lnTo>
                  <a:lnTo>
                    <a:pt x="8374" y="1219"/>
                  </a:lnTo>
                  <a:lnTo>
                    <a:pt x="8376" y="1268"/>
                  </a:lnTo>
                  <a:lnTo>
                    <a:pt x="8377" y="1324"/>
                  </a:lnTo>
                  <a:lnTo>
                    <a:pt x="8377" y="1938"/>
                  </a:lnTo>
                  <a:lnTo>
                    <a:pt x="8720" y="1938"/>
                  </a:lnTo>
                  <a:close/>
                  <a:moveTo>
                    <a:pt x="2622" y="369"/>
                  </a:moveTo>
                  <a:lnTo>
                    <a:pt x="2584" y="372"/>
                  </a:lnTo>
                  <a:lnTo>
                    <a:pt x="2566" y="376"/>
                  </a:lnTo>
                  <a:lnTo>
                    <a:pt x="2549" y="382"/>
                  </a:lnTo>
                  <a:lnTo>
                    <a:pt x="2534" y="390"/>
                  </a:lnTo>
                  <a:lnTo>
                    <a:pt x="2519" y="399"/>
                  </a:lnTo>
                  <a:lnTo>
                    <a:pt x="2494" y="421"/>
                  </a:lnTo>
                  <a:lnTo>
                    <a:pt x="2483" y="434"/>
                  </a:lnTo>
                  <a:lnTo>
                    <a:pt x="2473" y="450"/>
                  </a:lnTo>
                  <a:lnTo>
                    <a:pt x="2465" y="465"/>
                  </a:lnTo>
                  <a:lnTo>
                    <a:pt x="2458" y="483"/>
                  </a:lnTo>
                  <a:lnTo>
                    <a:pt x="2453" y="502"/>
                  </a:lnTo>
                  <a:lnTo>
                    <a:pt x="2449" y="521"/>
                  </a:lnTo>
                  <a:lnTo>
                    <a:pt x="2446" y="542"/>
                  </a:lnTo>
                  <a:lnTo>
                    <a:pt x="2446" y="564"/>
                  </a:lnTo>
                  <a:lnTo>
                    <a:pt x="2446" y="757"/>
                  </a:lnTo>
                  <a:lnTo>
                    <a:pt x="2692" y="757"/>
                  </a:lnTo>
                  <a:lnTo>
                    <a:pt x="2692" y="1027"/>
                  </a:lnTo>
                  <a:lnTo>
                    <a:pt x="2446" y="1027"/>
                  </a:lnTo>
                  <a:lnTo>
                    <a:pt x="2446" y="1483"/>
                  </a:lnTo>
                  <a:lnTo>
                    <a:pt x="2446" y="1938"/>
                  </a:lnTo>
                  <a:lnTo>
                    <a:pt x="2107" y="1938"/>
                  </a:lnTo>
                  <a:lnTo>
                    <a:pt x="2107" y="1483"/>
                  </a:lnTo>
                  <a:lnTo>
                    <a:pt x="2107" y="1027"/>
                  </a:lnTo>
                  <a:lnTo>
                    <a:pt x="1950" y="1027"/>
                  </a:lnTo>
                  <a:lnTo>
                    <a:pt x="1950" y="757"/>
                  </a:lnTo>
                  <a:lnTo>
                    <a:pt x="2107" y="757"/>
                  </a:lnTo>
                  <a:lnTo>
                    <a:pt x="2107" y="595"/>
                  </a:lnTo>
                  <a:lnTo>
                    <a:pt x="2110" y="501"/>
                  </a:lnTo>
                  <a:lnTo>
                    <a:pt x="2115" y="454"/>
                  </a:lnTo>
                  <a:lnTo>
                    <a:pt x="2122" y="407"/>
                  </a:lnTo>
                  <a:lnTo>
                    <a:pt x="2126" y="385"/>
                  </a:lnTo>
                  <a:lnTo>
                    <a:pt x="2130" y="363"/>
                  </a:lnTo>
                  <a:lnTo>
                    <a:pt x="2144" y="320"/>
                  </a:lnTo>
                  <a:lnTo>
                    <a:pt x="2152" y="299"/>
                  </a:lnTo>
                  <a:lnTo>
                    <a:pt x="2160" y="278"/>
                  </a:lnTo>
                  <a:lnTo>
                    <a:pt x="2182" y="240"/>
                  </a:lnTo>
                  <a:lnTo>
                    <a:pt x="2207" y="203"/>
                  </a:lnTo>
                  <a:lnTo>
                    <a:pt x="2222" y="186"/>
                  </a:lnTo>
                  <a:lnTo>
                    <a:pt x="2238" y="171"/>
                  </a:lnTo>
                  <a:lnTo>
                    <a:pt x="2255" y="156"/>
                  </a:lnTo>
                  <a:lnTo>
                    <a:pt x="2274" y="142"/>
                  </a:lnTo>
                  <a:lnTo>
                    <a:pt x="2316" y="118"/>
                  </a:lnTo>
                  <a:lnTo>
                    <a:pt x="2339" y="108"/>
                  </a:lnTo>
                  <a:lnTo>
                    <a:pt x="2365" y="99"/>
                  </a:lnTo>
                  <a:lnTo>
                    <a:pt x="2391" y="90"/>
                  </a:lnTo>
                  <a:lnTo>
                    <a:pt x="2419" y="83"/>
                  </a:lnTo>
                  <a:lnTo>
                    <a:pt x="2449" y="79"/>
                  </a:lnTo>
                  <a:lnTo>
                    <a:pt x="2481" y="74"/>
                  </a:lnTo>
                  <a:lnTo>
                    <a:pt x="2516" y="72"/>
                  </a:lnTo>
                  <a:lnTo>
                    <a:pt x="2551" y="71"/>
                  </a:lnTo>
                  <a:lnTo>
                    <a:pt x="2615" y="73"/>
                  </a:lnTo>
                  <a:lnTo>
                    <a:pt x="2668" y="79"/>
                  </a:lnTo>
                  <a:lnTo>
                    <a:pt x="2721" y="88"/>
                  </a:lnTo>
                  <a:lnTo>
                    <a:pt x="2782" y="100"/>
                  </a:lnTo>
                  <a:lnTo>
                    <a:pt x="2782" y="390"/>
                  </a:lnTo>
                  <a:lnTo>
                    <a:pt x="2717" y="375"/>
                  </a:lnTo>
                  <a:lnTo>
                    <a:pt x="2676" y="371"/>
                  </a:lnTo>
                  <a:lnTo>
                    <a:pt x="2622" y="369"/>
                  </a:lnTo>
                  <a:close/>
                  <a:moveTo>
                    <a:pt x="1447" y="1554"/>
                  </a:moveTo>
                  <a:lnTo>
                    <a:pt x="1649" y="1903"/>
                  </a:lnTo>
                  <a:lnTo>
                    <a:pt x="1599" y="1930"/>
                  </a:lnTo>
                  <a:lnTo>
                    <a:pt x="1549" y="1955"/>
                  </a:lnTo>
                  <a:lnTo>
                    <a:pt x="1498" y="1976"/>
                  </a:lnTo>
                  <a:lnTo>
                    <a:pt x="1446" y="1995"/>
                  </a:lnTo>
                  <a:lnTo>
                    <a:pt x="1394" y="2010"/>
                  </a:lnTo>
                  <a:lnTo>
                    <a:pt x="1342" y="2024"/>
                  </a:lnTo>
                  <a:lnTo>
                    <a:pt x="1288" y="2035"/>
                  </a:lnTo>
                  <a:lnTo>
                    <a:pt x="1235" y="2042"/>
                  </a:lnTo>
                  <a:lnTo>
                    <a:pt x="1183" y="2047"/>
                  </a:lnTo>
                  <a:lnTo>
                    <a:pt x="1130" y="2050"/>
                  </a:lnTo>
                  <a:lnTo>
                    <a:pt x="1076" y="2050"/>
                  </a:lnTo>
                  <a:lnTo>
                    <a:pt x="1023" y="2048"/>
                  </a:lnTo>
                  <a:lnTo>
                    <a:pt x="971" y="2042"/>
                  </a:lnTo>
                  <a:lnTo>
                    <a:pt x="919" y="2036"/>
                  </a:lnTo>
                  <a:lnTo>
                    <a:pt x="866" y="2026"/>
                  </a:lnTo>
                  <a:lnTo>
                    <a:pt x="815" y="2012"/>
                  </a:lnTo>
                  <a:lnTo>
                    <a:pt x="764" y="1998"/>
                  </a:lnTo>
                  <a:lnTo>
                    <a:pt x="714" y="1981"/>
                  </a:lnTo>
                  <a:lnTo>
                    <a:pt x="690" y="1971"/>
                  </a:lnTo>
                  <a:lnTo>
                    <a:pt x="665" y="1961"/>
                  </a:lnTo>
                  <a:lnTo>
                    <a:pt x="618" y="1939"/>
                  </a:lnTo>
                  <a:lnTo>
                    <a:pt x="570" y="1915"/>
                  </a:lnTo>
                  <a:lnTo>
                    <a:pt x="524" y="1888"/>
                  </a:lnTo>
                  <a:lnTo>
                    <a:pt x="480" y="1859"/>
                  </a:lnTo>
                  <a:lnTo>
                    <a:pt x="436" y="1828"/>
                  </a:lnTo>
                  <a:lnTo>
                    <a:pt x="394" y="1795"/>
                  </a:lnTo>
                  <a:lnTo>
                    <a:pt x="353" y="1759"/>
                  </a:lnTo>
                  <a:lnTo>
                    <a:pt x="314" y="1721"/>
                  </a:lnTo>
                  <a:lnTo>
                    <a:pt x="278" y="1681"/>
                  </a:lnTo>
                  <a:lnTo>
                    <a:pt x="242" y="1639"/>
                  </a:lnTo>
                  <a:lnTo>
                    <a:pt x="209" y="1596"/>
                  </a:lnTo>
                  <a:lnTo>
                    <a:pt x="177" y="1549"/>
                  </a:lnTo>
                  <a:lnTo>
                    <a:pt x="148" y="1502"/>
                  </a:lnTo>
                  <a:lnTo>
                    <a:pt x="120" y="1452"/>
                  </a:lnTo>
                  <a:lnTo>
                    <a:pt x="97" y="1400"/>
                  </a:lnTo>
                  <a:lnTo>
                    <a:pt x="74" y="1349"/>
                  </a:lnTo>
                  <a:lnTo>
                    <a:pt x="55" y="1298"/>
                  </a:lnTo>
                  <a:lnTo>
                    <a:pt x="40" y="1246"/>
                  </a:lnTo>
                  <a:lnTo>
                    <a:pt x="27" y="1193"/>
                  </a:lnTo>
                  <a:lnTo>
                    <a:pt x="17" y="1141"/>
                  </a:lnTo>
                  <a:lnTo>
                    <a:pt x="8" y="1087"/>
                  </a:lnTo>
                  <a:lnTo>
                    <a:pt x="3" y="1034"/>
                  </a:lnTo>
                  <a:lnTo>
                    <a:pt x="0" y="981"/>
                  </a:lnTo>
                  <a:lnTo>
                    <a:pt x="0" y="928"/>
                  </a:lnTo>
                  <a:lnTo>
                    <a:pt x="2" y="875"/>
                  </a:lnTo>
                  <a:lnTo>
                    <a:pt x="8" y="822"/>
                  </a:lnTo>
                  <a:lnTo>
                    <a:pt x="15" y="770"/>
                  </a:lnTo>
                  <a:lnTo>
                    <a:pt x="25" y="718"/>
                  </a:lnTo>
                  <a:lnTo>
                    <a:pt x="38" y="667"/>
                  </a:lnTo>
                  <a:lnTo>
                    <a:pt x="52" y="616"/>
                  </a:lnTo>
                  <a:lnTo>
                    <a:pt x="70" y="566"/>
                  </a:lnTo>
                  <a:lnTo>
                    <a:pt x="79" y="542"/>
                  </a:lnTo>
                  <a:lnTo>
                    <a:pt x="89" y="517"/>
                  </a:lnTo>
                  <a:lnTo>
                    <a:pt x="111" y="470"/>
                  </a:lnTo>
                  <a:lnTo>
                    <a:pt x="135" y="422"/>
                  </a:lnTo>
                  <a:lnTo>
                    <a:pt x="162" y="376"/>
                  </a:lnTo>
                  <a:lnTo>
                    <a:pt x="191" y="332"/>
                  </a:lnTo>
                  <a:lnTo>
                    <a:pt x="222" y="289"/>
                  </a:lnTo>
                  <a:lnTo>
                    <a:pt x="255" y="246"/>
                  </a:lnTo>
                  <a:lnTo>
                    <a:pt x="291" y="205"/>
                  </a:lnTo>
                  <a:lnTo>
                    <a:pt x="329" y="166"/>
                  </a:lnTo>
                  <a:lnTo>
                    <a:pt x="369" y="130"/>
                  </a:lnTo>
                  <a:lnTo>
                    <a:pt x="411" y="94"/>
                  </a:lnTo>
                  <a:lnTo>
                    <a:pt x="455" y="61"/>
                  </a:lnTo>
                  <a:lnTo>
                    <a:pt x="501" y="29"/>
                  </a:lnTo>
                  <a:lnTo>
                    <a:pt x="550" y="0"/>
                  </a:lnTo>
                  <a:lnTo>
                    <a:pt x="825" y="74"/>
                  </a:lnTo>
                  <a:lnTo>
                    <a:pt x="751" y="349"/>
                  </a:lnTo>
                  <a:lnTo>
                    <a:pt x="720" y="369"/>
                  </a:lnTo>
                  <a:lnTo>
                    <a:pt x="690" y="389"/>
                  </a:lnTo>
                  <a:lnTo>
                    <a:pt x="661" y="411"/>
                  </a:lnTo>
                  <a:lnTo>
                    <a:pt x="634" y="434"/>
                  </a:lnTo>
                  <a:lnTo>
                    <a:pt x="608" y="459"/>
                  </a:lnTo>
                  <a:lnTo>
                    <a:pt x="584" y="484"/>
                  </a:lnTo>
                  <a:lnTo>
                    <a:pt x="540" y="537"/>
                  </a:lnTo>
                  <a:lnTo>
                    <a:pt x="520" y="565"/>
                  </a:lnTo>
                  <a:lnTo>
                    <a:pt x="502" y="594"/>
                  </a:lnTo>
                  <a:lnTo>
                    <a:pt x="485" y="624"/>
                  </a:lnTo>
                  <a:lnTo>
                    <a:pt x="470" y="655"/>
                  </a:lnTo>
                  <a:lnTo>
                    <a:pt x="455" y="686"/>
                  </a:lnTo>
                  <a:lnTo>
                    <a:pt x="443" y="717"/>
                  </a:lnTo>
                  <a:lnTo>
                    <a:pt x="424" y="782"/>
                  </a:lnTo>
                  <a:lnTo>
                    <a:pt x="410" y="848"/>
                  </a:lnTo>
                  <a:lnTo>
                    <a:pt x="403" y="915"/>
                  </a:lnTo>
                  <a:lnTo>
                    <a:pt x="401" y="948"/>
                  </a:lnTo>
                  <a:lnTo>
                    <a:pt x="401" y="982"/>
                  </a:lnTo>
                  <a:lnTo>
                    <a:pt x="403" y="1015"/>
                  </a:lnTo>
                  <a:lnTo>
                    <a:pt x="406" y="1048"/>
                  </a:lnTo>
                  <a:lnTo>
                    <a:pt x="411" y="1082"/>
                  </a:lnTo>
                  <a:lnTo>
                    <a:pt x="418" y="1115"/>
                  </a:lnTo>
                  <a:lnTo>
                    <a:pt x="426" y="1147"/>
                  </a:lnTo>
                  <a:lnTo>
                    <a:pt x="435" y="1179"/>
                  </a:lnTo>
                  <a:lnTo>
                    <a:pt x="448" y="1211"/>
                  </a:lnTo>
                  <a:lnTo>
                    <a:pt x="460" y="1242"/>
                  </a:lnTo>
                  <a:lnTo>
                    <a:pt x="475" y="1273"/>
                  </a:lnTo>
                  <a:lnTo>
                    <a:pt x="491" y="1303"/>
                  </a:lnTo>
                  <a:lnTo>
                    <a:pt x="509" y="1332"/>
                  </a:lnTo>
                  <a:lnTo>
                    <a:pt x="528" y="1359"/>
                  </a:lnTo>
                  <a:lnTo>
                    <a:pt x="570" y="1412"/>
                  </a:lnTo>
                  <a:lnTo>
                    <a:pt x="593" y="1436"/>
                  </a:lnTo>
                  <a:lnTo>
                    <a:pt x="618" y="1459"/>
                  </a:lnTo>
                  <a:lnTo>
                    <a:pt x="643" y="1482"/>
                  </a:lnTo>
                  <a:lnTo>
                    <a:pt x="669" y="1503"/>
                  </a:lnTo>
                  <a:lnTo>
                    <a:pt x="724" y="1540"/>
                  </a:lnTo>
                  <a:lnTo>
                    <a:pt x="753" y="1557"/>
                  </a:lnTo>
                  <a:lnTo>
                    <a:pt x="783" y="1573"/>
                  </a:lnTo>
                  <a:lnTo>
                    <a:pt x="844" y="1600"/>
                  </a:lnTo>
                  <a:lnTo>
                    <a:pt x="876" y="1612"/>
                  </a:lnTo>
                  <a:lnTo>
                    <a:pt x="909" y="1622"/>
                  </a:lnTo>
                  <a:lnTo>
                    <a:pt x="974" y="1636"/>
                  </a:lnTo>
                  <a:lnTo>
                    <a:pt x="1007" y="1642"/>
                  </a:lnTo>
                  <a:lnTo>
                    <a:pt x="1042" y="1645"/>
                  </a:lnTo>
                  <a:lnTo>
                    <a:pt x="1075" y="1647"/>
                  </a:lnTo>
                  <a:lnTo>
                    <a:pt x="1110" y="1647"/>
                  </a:lnTo>
                  <a:lnTo>
                    <a:pt x="1144" y="1646"/>
                  </a:lnTo>
                  <a:lnTo>
                    <a:pt x="1178" y="1643"/>
                  </a:lnTo>
                  <a:lnTo>
                    <a:pt x="1213" y="1638"/>
                  </a:lnTo>
                  <a:lnTo>
                    <a:pt x="1246" y="1632"/>
                  </a:lnTo>
                  <a:lnTo>
                    <a:pt x="1281" y="1624"/>
                  </a:lnTo>
                  <a:lnTo>
                    <a:pt x="1315" y="1614"/>
                  </a:lnTo>
                  <a:lnTo>
                    <a:pt x="1348" y="1602"/>
                  </a:lnTo>
                  <a:lnTo>
                    <a:pt x="1382" y="1587"/>
                  </a:lnTo>
                  <a:lnTo>
                    <a:pt x="1415" y="1572"/>
                  </a:lnTo>
                  <a:lnTo>
                    <a:pt x="1447" y="1554"/>
                  </a:lnTo>
                  <a:close/>
                  <a:moveTo>
                    <a:pt x="565" y="1259"/>
                  </a:moveTo>
                  <a:lnTo>
                    <a:pt x="598" y="1309"/>
                  </a:lnTo>
                  <a:lnTo>
                    <a:pt x="634" y="1356"/>
                  </a:lnTo>
                  <a:lnTo>
                    <a:pt x="676" y="1398"/>
                  </a:lnTo>
                  <a:lnTo>
                    <a:pt x="721" y="1435"/>
                  </a:lnTo>
                  <a:lnTo>
                    <a:pt x="745" y="1453"/>
                  </a:lnTo>
                  <a:lnTo>
                    <a:pt x="770" y="1468"/>
                  </a:lnTo>
                  <a:lnTo>
                    <a:pt x="821" y="1497"/>
                  </a:lnTo>
                  <a:lnTo>
                    <a:pt x="847" y="1509"/>
                  </a:lnTo>
                  <a:lnTo>
                    <a:pt x="875" y="1520"/>
                  </a:lnTo>
                  <a:lnTo>
                    <a:pt x="932" y="1539"/>
                  </a:lnTo>
                  <a:lnTo>
                    <a:pt x="990" y="1553"/>
                  </a:lnTo>
                  <a:lnTo>
                    <a:pt x="1049" y="1560"/>
                  </a:lnTo>
                  <a:lnTo>
                    <a:pt x="1108" y="1563"/>
                  </a:lnTo>
                  <a:lnTo>
                    <a:pt x="1168" y="1558"/>
                  </a:lnTo>
                  <a:lnTo>
                    <a:pt x="1228" y="1548"/>
                  </a:lnTo>
                  <a:lnTo>
                    <a:pt x="1288" y="1533"/>
                  </a:lnTo>
                  <a:lnTo>
                    <a:pt x="1347" y="1509"/>
                  </a:lnTo>
                  <a:lnTo>
                    <a:pt x="1405" y="1480"/>
                  </a:lnTo>
                  <a:lnTo>
                    <a:pt x="1460" y="1445"/>
                  </a:lnTo>
                  <a:lnTo>
                    <a:pt x="1485" y="1426"/>
                  </a:lnTo>
                  <a:lnTo>
                    <a:pt x="1508" y="1405"/>
                  </a:lnTo>
                  <a:lnTo>
                    <a:pt x="1553" y="1362"/>
                  </a:lnTo>
                  <a:lnTo>
                    <a:pt x="1592" y="1314"/>
                  </a:lnTo>
                  <a:lnTo>
                    <a:pt x="1625" y="1264"/>
                  </a:lnTo>
                  <a:lnTo>
                    <a:pt x="1639" y="1237"/>
                  </a:lnTo>
                  <a:lnTo>
                    <a:pt x="1653" y="1211"/>
                  </a:lnTo>
                  <a:lnTo>
                    <a:pt x="1665" y="1184"/>
                  </a:lnTo>
                  <a:lnTo>
                    <a:pt x="1676" y="1156"/>
                  </a:lnTo>
                  <a:lnTo>
                    <a:pt x="1693" y="1099"/>
                  </a:lnTo>
                  <a:lnTo>
                    <a:pt x="1705" y="1042"/>
                  </a:lnTo>
                  <a:lnTo>
                    <a:pt x="1709" y="1013"/>
                  </a:lnTo>
                  <a:lnTo>
                    <a:pt x="1712" y="983"/>
                  </a:lnTo>
                  <a:lnTo>
                    <a:pt x="1713" y="924"/>
                  </a:lnTo>
                  <a:lnTo>
                    <a:pt x="1708" y="866"/>
                  </a:lnTo>
                  <a:lnTo>
                    <a:pt x="1697" y="807"/>
                  </a:lnTo>
                  <a:lnTo>
                    <a:pt x="1682" y="751"/>
                  </a:lnTo>
                  <a:lnTo>
                    <a:pt x="1661" y="696"/>
                  </a:lnTo>
                  <a:lnTo>
                    <a:pt x="1634" y="643"/>
                  </a:lnTo>
                  <a:lnTo>
                    <a:pt x="1602" y="593"/>
                  </a:lnTo>
                  <a:lnTo>
                    <a:pt x="1564" y="547"/>
                  </a:lnTo>
                  <a:lnTo>
                    <a:pt x="1523" y="505"/>
                  </a:lnTo>
                  <a:lnTo>
                    <a:pt x="1501" y="485"/>
                  </a:lnTo>
                  <a:lnTo>
                    <a:pt x="1478" y="467"/>
                  </a:lnTo>
                  <a:lnTo>
                    <a:pt x="1454" y="450"/>
                  </a:lnTo>
                  <a:lnTo>
                    <a:pt x="1430" y="434"/>
                  </a:lnTo>
                  <a:lnTo>
                    <a:pt x="1378" y="405"/>
                  </a:lnTo>
                  <a:lnTo>
                    <a:pt x="1352" y="393"/>
                  </a:lnTo>
                  <a:lnTo>
                    <a:pt x="1324" y="382"/>
                  </a:lnTo>
                  <a:lnTo>
                    <a:pt x="1268" y="363"/>
                  </a:lnTo>
                  <a:lnTo>
                    <a:pt x="1240" y="356"/>
                  </a:lnTo>
                  <a:lnTo>
                    <a:pt x="1211" y="350"/>
                  </a:lnTo>
                  <a:lnTo>
                    <a:pt x="1181" y="345"/>
                  </a:lnTo>
                  <a:lnTo>
                    <a:pt x="1152" y="342"/>
                  </a:lnTo>
                  <a:lnTo>
                    <a:pt x="1092" y="340"/>
                  </a:lnTo>
                  <a:lnTo>
                    <a:pt x="1031" y="344"/>
                  </a:lnTo>
                  <a:lnTo>
                    <a:pt x="971" y="354"/>
                  </a:lnTo>
                  <a:lnTo>
                    <a:pt x="911" y="370"/>
                  </a:lnTo>
                  <a:lnTo>
                    <a:pt x="881" y="381"/>
                  </a:lnTo>
                  <a:lnTo>
                    <a:pt x="852" y="393"/>
                  </a:lnTo>
                  <a:lnTo>
                    <a:pt x="823" y="406"/>
                  </a:lnTo>
                  <a:lnTo>
                    <a:pt x="794" y="423"/>
                  </a:lnTo>
                  <a:lnTo>
                    <a:pt x="766" y="440"/>
                  </a:lnTo>
                  <a:lnTo>
                    <a:pt x="740" y="457"/>
                  </a:lnTo>
                  <a:lnTo>
                    <a:pt x="714" y="476"/>
                  </a:lnTo>
                  <a:lnTo>
                    <a:pt x="691" y="497"/>
                  </a:lnTo>
                  <a:lnTo>
                    <a:pt x="646" y="541"/>
                  </a:lnTo>
                  <a:lnTo>
                    <a:pt x="609" y="589"/>
                  </a:lnTo>
                  <a:lnTo>
                    <a:pt x="574" y="639"/>
                  </a:lnTo>
                  <a:lnTo>
                    <a:pt x="560" y="664"/>
                  </a:lnTo>
                  <a:lnTo>
                    <a:pt x="546" y="692"/>
                  </a:lnTo>
                  <a:lnTo>
                    <a:pt x="534" y="718"/>
                  </a:lnTo>
                  <a:lnTo>
                    <a:pt x="524" y="746"/>
                  </a:lnTo>
                  <a:lnTo>
                    <a:pt x="506" y="803"/>
                  </a:lnTo>
                  <a:lnTo>
                    <a:pt x="494" y="861"/>
                  </a:lnTo>
                  <a:lnTo>
                    <a:pt x="488" y="920"/>
                  </a:lnTo>
                  <a:lnTo>
                    <a:pt x="486" y="978"/>
                  </a:lnTo>
                  <a:lnTo>
                    <a:pt x="491" y="1037"/>
                  </a:lnTo>
                  <a:lnTo>
                    <a:pt x="495" y="1066"/>
                  </a:lnTo>
                  <a:lnTo>
                    <a:pt x="501" y="1095"/>
                  </a:lnTo>
                  <a:lnTo>
                    <a:pt x="516" y="1152"/>
                  </a:lnTo>
                  <a:lnTo>
                    <a:pt x="538" y="1207"/>
                  </a:lnTo>
                  <a:lnTo>
                    <a:pt x="565" y="125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auto">
            <a:xfrm>
              <a:off x="10176312" y="5785848"/>
              <a:ext cx="730621" cy="426079"/>
            </a:xfrm>
            <a:custGeom>
              <a:avLst/>
              <a:gdLst>
                <a:gd name="T0" fmla="*/ 0 w 5232"/>
                <a:gd name="T1" fmla="*/ 3051 h 3051"/>
                <a:gd name="T2" fmla="*/ 653 w 5232"/>
                <a:gd name="T3" fmla="*/ 3051 h 3051"/>
                <a:gd name="T4" fmla="*/ 1307 w 5232"/>
                <a:gd name="T5" fmla="*/ 3051 h 3051"/>
                <a:gd name="T6" fmla="*/ 1962 w 5232"/>
                <a:gd name="T7" fmla="*/ 3051 h 3051"/>
                <a:gd name="T8" fmla="*/ 2616 w 5232"/>
                <a:gd name="T9" fmla="*/ 3051 h 3051"/>
                <a:gd name="T10" fmla="*/ 3269 w 5232"/>
                <a:gd name="T11" fmla="*/ 3051 h 3051"/>
                <a:gd name="T12" fmla="*/ 3923 w 5232"/>
                <a:gd name="T13" fmla="*/ 3051 h 3051"/>
                <a:gd name="T14" fmla="*/ 4578 w 5232"/>
                <a:gd name="T15" fmla="*/ 3051 h 3051"/>
                <a:gd name="T16" fmla="*/ 5232 w 5232"/>
                <a:gd name="T17" fmla="*/ 3051 h 3051"/>
                <a:gd name="T18" fmla="*/ 5232 w 5232"/>
                <a:gd name="T19" fmla="*/ 2288 h 3051"/>
                <a:gd name="T20" fmla="*/ 5232 w 5232"/>
                <a:gd name="T21" fmla="*/ 1525 h 3051"/>
                <a:gd name="T22" fmla="*/ 5232 w 5232"/>
                <a:gd name="T23" fmla="*/ 762 h 3051"/>
                <a:gd name="T24" fmla="*/ 5232 w 5232"/>
                <a:gd name="T25" fmla="*/ 0 h 3051"/>
                <a:gd name="T26" fmla="*/ 4578 w 5232"/>
                <a:gd name="T27" fmla="*/ 0 h 3051"/>
                <a:gd name="T28" fmla="*/ 3923 w 5232"/>
                <a:gd name="T29" fmla="*/ 0 h 3051"/>
                <a:gd name="T30" fmla="*/ 3269 w 5232"/>
                <a:gd name="T31" fmla="*/ 0 h 3051"/>
                <a:gd name="T32" fmla="*/ 2616 w 5232"/>
                <a:gd name="T33" fmla="*/ 0 h 3051"/>
                <a:gd name="T34" fmla="*/ 1962 w 5232"/>
                <a:gd name="T35" fmla="*/ 0 h 3051"/>
                <a:gd name="T36" fmla="*/ 1307 w 5232"/>
                <a:gd name="T37" fmla="*/ 0 h 3051"/>
                <a:gd name="T38" fmla="*/ 653 w 5232"/>
                <a:gd name="T39" fmla="*/ 0 h 3051"/>
                <a:gd name="T40" fmla="*/ 0 w 5232"/>
                <a:gd name="T41" fmla="*/ 0 h 3051"/>
                <a:gd name="T42" fmla="*/ 0 w 5232"/>
                <a:gd name="T43" fmla="*/ 762 h 3051"/>
                <a:gd name="T44" fmla="*/ 0 w 5232"/>
                <a:gd name="T45" fmla="*/ 1525 h 3051"/>
                <a:gd name="T46" fmla="*/ 0 w 5232"/>
                <a:gd name="T47" fmla="*/ 2288 h 3051"/>
                <a:gd name="T48" fmla="*/ 0 w 5232"/>
                <a:gd name="T49" fmla="*/ 3051 h 30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232" h="3051">
                  <a:moveTo>
                    <a:pt x="0" y="3051"/>
                  </a:moveTo>
                  <a:lnTo>
                    <a:pt x="653" y="3051"/>
                  </a:lnTo>
                  <a:lnTo>
                    <a:pt x="1307" y="3051"/>
                  </a:lnTo>
                  <a:lnTo>
                    <a:pt x="1962" y="3051"/>
                  </a:lnTo>
                  <a:lnTo>
                    <a:pt x="2616" y="3051"/>
                  </a:lnTo>
                  <a:lnTo>
                    <a:pt x="3269" y="3051"/>
                  </a:lnTo>
                  <a:lnTo>
                    <a:pt x="3923" y="3051"/>
                  </a:lnTo>
                  <a:lnTo>
                    <a:pt x="4578" y="3051"/>
                  </a:lnTo>
                  <a:lnTo>
                    <a:pt x="5232" y="3051"/>
                  </a:lnTo>
                  <a:lnTo>
                    <a:pt x="5232" y="2288"/>
                  </a:lnTo>
                  <a:lnTo>
                    <a:pt x="5232" y="1525"/>
                  </a:lnTo>
                  <a:lnTo>
                    <a:pt x="5232" y="762"/>
                  </a:lnTo>
                  <a:lnTo>
                    <a:pt x="5232" y="0"/>
                  </a:lnTo>
                  <a:lnTo>
                    <a:pt x="4578" y="0"/>
                  </a:lnTo>
                  <a:lnTo>
                    <a:pt x="3923" y="0"/>
                  </a:lnTo>
                  <a:lnTo>
                    <a:pt x="3269" y="0"/>
                  </a:lnTo>
                  <a:lnTo>
                    <a:pt x="2616" y="0"/>
                  </a:lnTo>
                  <a:lnTo>
                    <a:pt x="1962" y="0"/>
                  </a:lnTo>
                  <a:lnTo>
                    <a:pt x="1307" y="0"/>
                  </a:lnTo>
                  <a:lnTo>
                    <a:pt x="653" y="0"/>
                  </a:lnTo>
                  <a:lnTo>
                    <a:pt x="0" y="0"/>
                  </a:lnTo>
                  <a:lnTo>
                    <a:pt x="0" y="762"/>
                  </a:lnTo>
                  <a:lnTo>
                    <a:pt x="0" y="1525"/>
                  </a:lnTo>
                  <a:lnTo>
                    <a:pt x="0" y="2288"/>
                  </a:lnTo>
                  <a:lnTo>
                    <a:pt x="0" y="3051"/>
                  </a:lnTo>
                  <a:close/>
                </a:path>
              </a:pathLst>
            </a:custGeom>
            <a:solidFill>
              <a:srgbClr val="377A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1" name="Freeform 9"/>
            <p:cNvSpPr>
              <a:spLocks noEditPoints="1"/>
            </p:cNvSpPr>
            <p:nvPr userDrawn="1"/>
          </p:nvSpPr>
          <p:spPr bwMode="auto">
            <a:xfrm>
              <a:off x="10293658" y="5873858"/>
              <a:ext cx="491737" cy="272412"/>
            </a:xfrm>
            <a:custGeom>
              <a:avLst/>
              <a:gdLst>
                <a:gd name="T0" fmla="*/ 278 w 3517"/>
                <a:gd name="T1" fmla="*/ 1564 h 1954"/>
                <a:gd name="T2" fmla="*/ 190 w 3517"/>
                <a:gd name="T3" fmla="*/ 1377 h 1954"/>
                <a:gd name="T4" fmla="*/ 466 w 3517"/>
                <a:gd name="T5" fmla="*/ 1198 h 1954"/>
                <a:gd name="T6" fmla="*/ 105 w 3517"/>
                <a:gd name="T7" fmla="*/ 1218 h 1954"/>
                <a:gd name="T8" fmla="*/ 22 w 3517"/>
                <a:gd name="T9" fmla="*/ 1558 h 1954"/>
                <a:gd name="T10" fmla="*/ 508 w 3517"/>
                <a:gd name="T11" fmla="*/ 903 h 1954"/>
                <a:gd name="T12" fmla="*/ 824 w 3517"/>
                <a:gd name="T13" fmla="*/ 1318 h 1954"/>
                <a:gd name="T14" fmla="*/ 1034 w 3517"/>
                <a:gd name="T15" fmla="*/ 1269 h 1954"/>
                <a:gd name="T16" fmla="*/ 800 w 3517"/>
                <a:gd name="T17" fmla="*/ 1165 h 1954"/>
                <a:gd name="T18" fmla="*/ 1476 w 3517"/>
                <a:gd name="T19" fmla="*/ 1679 h 1954"/>
                <a:gd name="T20" fmla="*/ 1372 w 3517"/>
                <a:gd name="T21" fmla="*/ 1161 h 1954"/>
                <a:gd name="T22" fmla="*/ 1104 w 3517"/>
                <a:gd name="T23" fmla="*/ 1333 h 1954"/>
                <a:gd name="T24" fmla="*/ 1201 w 3517"/>
                <a:gd name="T25" fmla="*/ 1684 h 1954"/>
                <a:gd name="T26" fmla="*/ 1288 w 3517"/>
                <a:gd name="T27" fmla="*/ 1514 h 1954"/>
                <a:gd name="T28" fmla="*/ 1370 w 3517"/>
                <a:gd name="T29" fmla="*/ 1318 h 1954"/>
                <a:gd name="T30" fmla="*/ 1506 w 3517"/>
                <a:gd name="T31" fmla="*/ 1482 h 1954"/>
                <a:gd name="T32" fmla="*/ 1977 w 3517"/>
                <a:gd name="T33" fmla="*/ 1198 h 1954"/>
                <a:gd name="T34" fmla="*/ 1980 w 3517"/>
                <a:gd name="T35" fmla="*/ 1323 h 1954"/>
                <a:gd name="T36" fmla="*/ 2300 w 3517"/>
                <a:gd name="T37" fmla="*/ 1364 h 1954"/>
                <a:gd name="T38" fmla="*/ 2142 w 3517"/>
                <a:gd name="T39" fmla="*/ 1162 h 1954"/>
                <a:gd name="T40" fmla="*/ 2902 w 3517"/>
                <a:gd name="T41" fmla="*/ 1848 h 1954"/>
                <a:gd name="T42" fmla="*/ 2659 w 3517"/>
                <a:gd name="T43" fmla="*/ 1168 h 1954"/>
                <a:gd name="T44" fmla="*/ 2361 w 3517"/>
                <a:gd name="T45" fmla="*/ 1305 h 1954"/>
                <a:gd name="T46" fmla="*/ 2418 w 3517"/>
                <a:gd name="T47" fmla="*/ 1656 h 1954"/>
                <a:gd name="T48" fmla="*/ 2734 w 3517"/>
                <a:gd name="T49" fmla="*/ 1666 h 1954"/>
                <a:gd name="T50" fmla="*/ 2605 w 3517"/>
                <a:gd name="T51" fmla="*/ 1790 h 1954"/>
                <a:gd name="T52" fmla="*/ 2549 w 3517"/>
                <a:gd name="T53" fmla="*/ 1532 h 1954"/>
                <a:gd name="T54" fmla="*/ 2599 w 3517"/>
                <a:gd name="T55" fmla="*/ 1323 h 1954"/>
                <a:gd name="T56" fmla="*/ 2756 w 3517"/>
                <a:gd name="T57" fmla="*/ 1468 h 1954"/>
                <a:gd name="T58" fmla="*/ 3141 w 3517"/>
                <a:gd name="T59" fmla="*/ 1179 h 1954"/>
                <a:gd name="T60" fmla="*/ 2975 w 3517"/>
                <a:gd name="T61" fmla="*/ 1475 h 1954"/>
                <a:gd name="T62" fmla="*/ 3206 w 3517"/>
                <a:gd name="T63" fmla="*/ 1719 h 1954"/>
                <a:gd name="T64" fmla="*/ 3308 w 3517"/>
                <a:gd name="T65" fmla="*/ 1577 h 1954"/>
                <a:gd name="T66" fmla="*/ 3512 w 3517"/>
                <a:gd name="T67" fmla="*/ 1376 h 1954"/>
                <a:gd name="T68" fmla="*/ 3284 w 3517"/>
                <a:gd name="T69" fmla="*/ 1161 h 1954"/>
                <a:gd name="T70" fmla="*/ 3150 w 3517"/>
                <a:gd name="T71" fmla="*/ 1336 h 1954"/>
                <a:gd name="T72" fmla="*/ 253 w 3517"/>
                <a:gd name="T73" fmla="*/ 744 h 1954"/>
                <a:gd name="T74" fmla="*/ 99 w 3517"/>
                <a:gd name="T75" fmla="*/ 630 h 1954"/>
                <a:gd name="T76" fmla="*/ 854 w 3517"/>
                <a:gd name="T77" fmla="*/ 734 h 1954"/>
                <a:gd name="T78" fmla="*/ 486 w 3517"/>
                <a:gd name="T79" fmla="*/ 790 h 1954"/>
                <a:gd name="T80" fmla="*/ 341 w 3517"/>
                <a:gd name="T81" fmla="*/ 463 h 1954"/>
                <a:gd name="T82" fmla="*/ 630 w 3517"/>
                <a:gd name="T83" fmla="*/ 255 h 1954"/>
                <a:gd name="T84" fmla="*/ 920 w 3517"/>
                <a:gd name="T85" fmla="*/ 463 h 1954"/>
                <a:gd name="T86" fmla="*/ 643 w 3517"/>
                <a:gd name="T87" fmla="*/ 662 h 1954"/>
                <a:gd name="T88" fmla="*/ 733 w 3517"/>
                <a:gd name="T89" fmla="*/ 465 h 1954"/>
                <a:gd name="T90" fmla="*/ 516 w 3517"/>
                <a:gd name="T91" fmla="*/ 488 h 1954"/>
                <a:gd name="T92" fmla="*/ 1555 w 3517"/>
                <a:gd name="T93" fmla="*/ 440 h 1954"/>
                <a:gd name="T94" fmla="*/ 1383 w 3517"/>
                <a:gd name="T95" fmla="*/ 484 h 1954"/>
                <a:gd name="T96" fmla="*/ 1550 w 3517"/>
                <a:gd name="T97" fmla="*/ 255 h 1954"/>
                <a:gd name="T98" fmla="*/ 1745 w 3517"/>
                <a:gd name="T99" fmla="*/ 422 h 1954"/>
                <a:gd name="T100" fmla="*/ 2184 w 3517"/>
                <a:gd name="T101" fmla="*/ 799 h 1954"/>
                <a:gd name="T102" fmla="*/ 2062 w 3517"/>
                <a:gd name="T103" fmla="*/ 60 h 1954"/>
                <a:gd name="T104" fmla="*/ 2760 w 3517"/>
                <a:gd name="T105" fmla="*/ 258 h 1954"/>
                <a:gd name="T106" fmla="*/ 2927 w 3517"/>
                <a:gd name="T107" fmla="*/ 448 h 1954"/>
                <a:gd name="T108" fmla="*/ 2627 w 3517"/>
                <a:gd name="T109" fmla="*/ 412 h 1954"/>
                <a:gd name="T110" fmla="*/ 3128 w 3517"/>
                <a:gd name="T111" fmla="*/ 592 h 1954"/>
                <a:gd name="T112" fmla="*/ 3386 w 3517"/>
                <a:gd name="T113" fmla="*/ 645 h 1954"/>
                <a:gd name="T114" fmla="*/ 3124 w 3517"/>
                <a:gd name="T115" fmla="*/ 796 h 1954"/>
                <a:gd name="T116" fmla="*/ 2965 w 3517"/>
                <a:gd name="T117" fmla="*/ 492 h 1954"/>
                <a:gd name="T118" fmla="*/ 3213 w 3517"/>
                <a:gd name="T119" fmla="*/ 258 h 1954"/>
                <a:gd name="T120" fmla="*/ 3483 w 3517"/>
                <a:gd name="T121" fmla="*/ 402 h 1954"/>
                <a:gd name="T122" fmla="*/ 3257 w 3517"/>
                <a:gd name="T123" fmla="*/ 382 h 19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517" h="1954">
                  <a:moveTo>
                    <a:pt x="296" y="1724"/>
                  </a:moveTo>
                  <a:lnTo>
                    <a:pt x="309" y="1724"/>
                  </a:lnTo>
                  <a:lnTo>
                    <a:pt x="322" y="1724"/>
                  </a:lnTo>
                  <a:lnTo>
                    <a:pt x="336" y="1723"/>
                  </a:lnTo>
                  <a:lnTo>
                    <a:pt x="349" y="1720"/>
                  </a:lnTo>
                  <a:lnTo>
                    <a:pt x="361" y="1719"/>
                  </a:lnTo>
                  <a:lnTo>
                    <a:pt x="373" y="1717"/>
                  </a:lnTo>
                  <a:lnTo>
                    <a:pt x="398" y="1710"/>
                  </a:lnTo>
                  <a:lnTo>
                    <a:pt x="421" y="1704"/>
                  </a:lnTo>
                  <a:lnTo>
                    <a:pt x="432" y="1699"/>
                  </a:lnTo>
                  <a:lnTo>
                    <a:pt x="443" y="1695"/>
                  </a:lnTo>
                  <a:lnTo>
                    <a:pt x="466" y="1684"/>
                  </a:lnTo>
                  <a:lnTo>
                    <a:pt x="487" y="1673"/>
                  </a:lnTo>
                  <a:lnTo>
                    <a:pt x="416" y="1534"/>
                  </a:lnTo>
                  <a:lnTo>
                    <a:pt x="403" y="1540"/>
                  </a:lnTo>
                  <a:lnTo>
                    <a:pt x="391" y="1547"/>
                  </a:lnTo>
                  <a:lnTo>
                    <a:pt x="379" y="1553"/>
                  </a:lnTo>
                  <a:lnTo>
                    <a:pt x="372" y="1555"/>
                  </a:lnTo>
                  <a:lnTo>
                    <a:pt x="366" y="1557"/>
                  </a:lnTo>
                  <a:lnTo>
                    <a:pt x="351" y="1560"/>
                  </a:lnTo>
                  <a:lnTo>
                    <a:pt x="343" y="1563"/>
                  </a:lnTo>
                  <a:lnTo>
                    <a:pt x="336" y="1564"/>
                  </a:lnTo>
                  <a:lnTo>
                    <a:pt x="328" y="1565"/>
                  </a:lnTo>
                  <a:lnTo>
                    <a:pt x="320" y="1565"/>
                  </a:lnTo>
                  <a:lnTo>
                    <a:pt x="303" y="1566"/>
                  </a:lnTo>
                  <a:lnTo>
                    <a:pt x="290" y="1565"/>
                  </a:lnTo>
                  <a:lnTo>
                    <a:pt x="278" y="1564"/>
                  </a:lnTo>
                  <a:lnTo>
                    <a:pt x="266" y="1560"/>
                  </a:lnTo>
                  <a:lnTo>
                    <a:pt x="253" y="1557"/>
                  </a:lnTo>
                  <a:lnTo>
                    <a:pt x="242" y="1553"/>
                  </a:lnTo>
                  <a:lnTo>
                    <a:pt x="232" y="1547"/>
                  </a:lnTo>
                  <a:lnTo>
                    <a:pt x="222" y="1540"/>
                  </a:lnTo>
                  <a:lnTo>
                    <a:pt x="217" y="1537"/>
                  </a:lnTo>
                  <a:lnTo>
                    <a:pt x="212" y="1534"/>
                  </a:lnTo>
                  <a:lnTo>
                    <a:pt x="203" y="1525"/>
                  </a:lnTo>
                  <a:lnTo>
                    <a:pt x="197" y="1516"/>
                  </a:lnTo>
                  <a:lnTo>
                    <a:pt x="192" y="1510"/>
                  </a:lnTo>
                  <a:lnTo>
                    <a:pt x="190" y="1505"/>
                  </a:lnTo>
                  <a:lnTo>
                    <a:pt x="183" y="1495"/>
                  </a:lnTo>
                  <a:lnTo>
                    <a:pt x="181" y="1488"/>
                  </a:lnTo>
                  <a:lnTo>
                    <a:pt x="179" y="1483"/>
                  </a:lnTo>
                  <a:lnTo>
                    <a:pt x="178" y="1476"/>
                  </a:lnTo>
                  <a:lnTo>
                    <a:pt x="176" y="1469"/>
                  </a:lnTo>
                  <a:lnTo>
                    <a:pt x="175" y="1463"/>
                  </a:lnTo>
                  <a:lnTo>
                    <a:pt x="175" y="1456"/>
                  </a:lnTo>
                  <a:lnTo>
                    <a:pt x="173" y="1449"/>
                  </a:lnTo>
                  <a:lnTo>
                    <a:pt x="173" y="1442"/>
                  </a:lnTo>
                  <a:lnTo>
                    <a:pt x="173" y="1434"/>
                  </a:lnTo>
                  <a:lnTo>
                    <a:pt x="175" y="1427"/>
                  </a:lnTo>
                  <a:lnTo>
                    <a:pt x="176" y="1414"/>
                  </a:lnTo>
                  <a:lnTo>
                    <a:pt x="178" y="1407"/>
                  </a:lnTo>
                  <a:lnTo>
                    <a:pt x="179" y="1401"/>
                  </a:lnTo>
                  <a:lnTo>
                    <a:pt x="183" y="1388"/>
                  </a:lnTo>
                  <a:lnTo>
                    <a:pt x="190" y="1377"/>
                  </a:lnTo>
                  <a:lnTo>
                    <a:pt x="192" y="1373"/>
                  </a:lnTo>
                  <a:lnTo>
                    <a:pt x="197" y="1367"/>
                  </a:lnTo>
                  <a:lnTo>
                    <a:pt x="200" y="1363"/>
                  </a:lnTo>
                  <a:lnTo>
                    <a:pt x="203" y="1358"/>
                  </a:lnTo>
                  <a:lnTo>
                    <a:pt x="208" y="1354"/>
                  </a:lnTo>
                  <a:lnTo>
                    <a:pt x="212" y="1349"/>
                  </a:lnTo>
                  <a:lnTo>
                    <a:pt x="222" y="1343"/>
                  </a:lnTo>
                  <a:lnTo>
                    <a:pt x="232" y="1336"/>
                  </a:lnTo>
                  <a:lnTo>
                    <a:pt x="242" y="1331"/>
                  </a:lnTo>
                  <a:lnTo>
                    <a:pt x="248" y="1328"/>
                  </a:lnTo>
                  <a:lnTo>
                    <a:pt x="253" y="1326"/>
                  </a:lnTo>
                  <a:lnTo>
                    <a:pt x="266" y="1322"/>
                  </a:lnTo>
                  <a:lnTo>
                    <a:pt x="271" y="1321"/>
                  </a:lnTo>
                  <a:lnTo>
                    <a:pt x="278" y="1319"/>
                  </a:lnTo>
                  <a:lnTo>
                    <a:pt x="290" y="1318"/>
                  </a:lnTo>
                  <a:lnTo>
                    <a:pt x="303" y="1317"/>
                  </a:lnTo>
                  <a:lnTo>
                    <a:pt x="320" y="1318"/>
                  </a:lnTo>
                  <a:lnTo>
                    <a:pt x="328" y="1318"/>
                  </a:lnTo>
                  <a:lnTo>
                    <a:pt x="336" y="1319"/>
                  </a:lnTo>
                  <a:lnTo>
                    <a:pt x="351" y="1322"/>
                  </a:lnTo>
                  <a:lnTo>
                    <a:pt x="366" y="1326"/>
                  </a:lnTo>
                  <a:lnTo>
                    <a:pt x="379" y="1331"/>
                  </a:lnTo>
                  <a:lnTo>
                    <a:pt x="391" y="1336"/>
                  </a:lnTo>
                  <a:lnTo>
                    <a:pt x="403" y="1343"/>
                  </a:lnTo>
                  <a:lnTo>
                    <a:pt x="416" y="1349"/>
                  </a:lnTo>
                  <a:lnTo>
                    <a:pt x="487" y="1211"/>
                  </a:lnTo>
                  <a:lnTo>
                    <a:pt x="466" y="1198"/>
                  </a:lnTo>
                  <a:lnTo>
                    <a:pt x="443" y="1188"/>
                  </a:lnTo>
                  <a:lnTo>
                    <a:pt x="432" y="1184"/>
                  </a:lnTo>
                  <a:lnTo>
                    <a:pt x="421" y="1179"/>
                  </a:lnTo>
                  <a:lnTo>
                    <a:pt x="409" y="1176"/>
                  </a:lnTo>
                  <a:lnTo>
                    <a:pt x="398" y="1172"/>
                  </a:lnTo>
                  <a:lnTo>
                    <a:pt x="386" y="1169"/>
                  </a:lnTo>
                  <a:lnTo>
                    <a:pt x="373" y="1166"/>
                  </a:lnTo>
                  <a:lnTo>
                    <a:pt x="361" y="1164"/>
                  </a:lnTo>
                  <a:lnTo>
                    <a:pt x="349" y="1163"/>
                  </a:lnTo>
                  <a:lnTo>
                    <a:pt x="336" y="1161"/>
                  </a:lnTo>
                  <a:lnTo>
                    <a:pt x="322" y="1160"/>
                  </a:lnTo>
                  <a:lnTo>
                    <a:pt x="296" y="1158"/>
                  </a:lnTo>
                  <a:lnTo>
                    <a:pt x="279" y="1160"/>
                  </a:lnTo>
                  <a:lnTo>
                    <a:pt x="263" y="1161"/>
                  </a:lnTo>
                  <a:lnTo>
                    <a:pt x="249" y="1162"/>
                  </a:lnTo>
                  <a:lnTo>
                    <a:pt x="233" y="1164"/>
                  </a:lnTo>
                  <a:lnTo>
                    <a:pt x="219" y="1167"/>
                  </a:lnTo>
                  <a:lnTo>
                    <a:pt x="205" y="1171"/>
                  </a:lnTo>
                  <a:lnTo>
                    <a:pt x="198" y="1172"/>
                  </a:lnTo>
                  <a:lnTo>
                    <a:pt x="191" y="1174"/>
                  </a:lnTo>
                  <a:lnTo>
                    <a:pt x="177" y="1179"/>
                  </a:lnTo>
                  <a:lnTo>
                    <a:pt x="165" y="1184"/>
                  </a:lnTo>
                  <a:lnTo>
                    <a:pt x="151" y="1189"/>
                  </a:lnTo>
                  <a:lnTo>
                    <a:pt x="139" y="1196"/>
                  </a:lnTo>
                  <a:lnTo>
                    <a:pt x="127" y="1203"/>
                  </a:lnTo>
                  <a:lnTo>
                    <a:pt x="116" y="1211"/>
                  </a:lnTo>
                  <a:lnTo>
                    <a:pt x="105" y="1218"/>
                  </a:lnTo>
                  <a:lnTo>
                    <a:pt x="94" y="1227"/>
                  </a:lnTo>
                  <a:lnTo>
                    <a:pt x="84" y="1236"/>
                  </a:lnTo>
                  <a:lnTo>
                    <a:pt x="75" y="1245"/>
                  </a:lnTo>
                  <a:lnTo>
                    <a:pt x="65" y="1255"/>
                  </a:lnTo>
                  <a:lnTo>
                    <a:pt x="57" y="1266"/>
                  </a:lnTo>
                  <a:lnTo>
                    <a:pt x="48" y="1277"/>
                  </a:lnTo>
                  <a:lnTo>
                    <a:pt x="41" y="1288"/>
                  </a:lnTo>
                  <a:lnTo>
                    <a:pt x="35" y="1301"/>
                  </a:lnTo>
                  <a:lnTo>
                    <a:pt x="28" y="1313"/>
                  </a:lnTo>
                  <a:lnTo>
                    <a:pt x="22" y="1325"/>
                  </a:lnTo>
                  <a:lnTo>
                    <a:pt x="17" y="1338"/>
                  </a:lnTo>
                  <a:lnTo>
                    <a:pt x="12" y="1352"/>
                  </a:lnTo>
                  <a:lnTo>
                    <a:pt x="9" y="1366"/>
                  </a:lnTo>
                  <a:lnTo>
                    <a:pt x="6" y="1381"/>
                  </a:lnTo>
                  <a:lnTo>
                    <a:pt x="4" y="1395"/>
                  </a:lnTo>
                  <a:lnTo>
                    <a:pt x="2" y="1403"/>
                  </a:lnTo>
                  <a:lnTo>
                    <a:pt x="1" y="1411"/>
                  </a:lnTo>
                  <a:lnTo>
                    <a:pt x="0" y="1426"/>
                  </a:lnTo>
                  <a:lnTo>
                    <a:pt x="0" y="1442"/>
                  </a:lnTo>
                  <a:lnTo>
                    <a:pt x="0" y="1457"/>
                  </a:lnTo>
                  <a:lnTo>
                    <a:pt x="1" y="1473"/>
                  </a:lnTo>
                  <a:lnTo>
                    <a:pt x="4" y="1488"/>
                  </a:lnTo>
                  <a:lnTo>
                    <a:pt x="6" y="1503"/>
                  </a:lnTo>
                  <a:lnTo>
                    <a:pt x="9" y="1517"/>
                  </a:lnTo>
                  <a:lnTo>
                    <a:pt x="12" y="1532"/>
                  </a:lnTo>
                  <a:lnTo>
                    <a:pt x="17" y="1545"/>
                  </a:lnTo>
                  <a:lnTo>
                    <a:pt x="22" y="1558"/>
                  </a:lnTo>
                  <a:lnTo>
                    <a:pt x="25" y="1565"/>
                  </a:lnTo>
                  <a:lnTo>
                    <a:pt x="28" y="1570"/>
                  </a:lnTo>
                  <a:lnTo>
                    <a:pt x="35" y="1583"/>
                  </a:lnTo>
                  <a:lnTo>
                    <a:pt x="41" y="1595"/>
                  </a:lnTo>
                  <a:lnTo>
                    <a:pt x="48" y="1606"/>
                  </a:lnTo>
                  <a:lnTo>
                    <a:pt x="57" y="1617"/>
                  </a:lnTo>
                  <a:lnTo>
                    <a:pt x="65" y="1627"/>
                  </a:lnTo>
                  <a:lnTo>
                    <a:pt x="75" y="1637"/>
                  </a:lnTo>
                  <a:lnTo>
                    <a:pt x="84" y="1647"/>
                  </a:lnTo>
                  <a:lnTo>
                    <a:pt x="94" y="1656"/>
                  </a:lnTo>
                  <a:lnTo>
                    <a:pt x="105" y="1665"/>
                  </a:lnTo>
                  <a:lnTo>
                    <a:pt x="116" y="1673"/>
                  </a:lnTo>
                  <a:lnTo>
                    <a:pt x="127" y="1680"/>
                  </a:lnTo>
                  <a:lnTo>
                    <a:pt x="139" y="1687"/>
                  </a:lnTo>
                  <a:lnTo>
                    <a:pt x="151" y="1693"/>
                  </a:lnTo>
                  <a:lnTo>
                    <a:pt x="165" y="1699"/>
                  </a:lnTo>
                  <a:lnTo>
                    <a:pt x="177" y="1704"/>
                  </a:lnTo>
                  <a:lnTo>
                    <a:pt x="191" y="1708"/>
                  </a:lnTo>
                  <a:lnTo>
                    <a:pt x="205" y="1713"/>
                  </a:lnTo>
                  <a:lnTo>
                    <a:pt x="219" y="1716"/>
                  </a:lnTo>
                  <a:lnTo>
                    <a:pt x="233" y="1719"/>
                  </a:lnTo>
                  <a:lnTo>
                    <a:pt x="249" y="1722"/>
                  </a:lnTo>
                  <a:lnTo>
                    <a:pt x="263" y="1723"/>
                  </a:lnTo>
                  <a:lnTo>
                    <a:pt x="279" y="1724"/>
                  </a:lnTo>
                  <a:lnTo>
                    <a:pt x="296" y="1724"/>
                  </a:lnTo>
                  <a:close/>
                  <a:moveTo>
                    <a:pt x="681" y="903"/>
                  </a:moveTo>
                  <a:lnTo>
                    <a:pt x="508" y="903"/>
                  </a:lnTo>
                  <a:lnTo>
                    <a:pt x="508" y="1707"/>
                  </a:lnTo>
                  <a:lnTo>
                    <a:pt x="681" y="1707"/>
                  </a:lnTo>
                  <a:lnTo>
                    <a:pt x="681" y="1441"/>
                  </a:lnTo>
                  <a:lnTo>
                    <a:pt x="681" y="1424"/>
                  </a:lnTo>
                  <a:lnTo>
                    <a:pt x="683" y="1408"/>
                  </a:lnTo>
                  <a:lnTo>
                    <a:pt x="684" y="1401"/>
                  </a:lnTo>
                  <a:lnTo>
                    <a:pt x="686" y="1394"/>
                  </a:lnTo>
                  <a:lnTo>
                    <a:pt x="687" y="1387"/>
                  </a:lnTo>
                  <a:lnTo>
                    <a:pt x="689" y="1381"/>
                  </a:lnTo>
                  <a:lnTo>
                    <a:pt x="693" y="1368"/>
                  </a:lnTo>
                  <a:lnTo>
                    <a:pt x="698" y="1358"/>
                  </a:lnTo>
                  <a:lnTo>
                    <a:pt x="701" y="1354"/>
                  </a:lnTo>
                  <a:lnTo>
                    <a:pt x="703" y="1349"/>
                  </a:lnTo>
                  <a:lnTo>
                    <a:pt x="707" y="1345"/>
                  </a:lnTo>
                  <a:lnTo>
                    <a:pt x="710" y="1341"/>
                  </a:lnTo>
                  <a:lnTo>
                    <a:pt x="718" y="1334"/>
                  </a:lnTo>
                  <a:lnTo>
                    <a:pt x="726" y="1327"/>
                  </a:lnTo>
                  <a:lnTo>
                    <a:pt x="733" y="1323"/>
                  </a:lnTo>
                  <a:lnTo>
                    <a:pt x="742" y="1318"/>
                  </a:lnTo>
                  <a:lnTo>
                    <a:pt x="752" y="1315"/>
                  </a:lnTo>
                  <a:lnTo>
                    <a:pt x="762" y="1314"/>
                  </a:lnTo>
                  <a:lnTo>
                    <a:pt x="772" y="1312"/>
                  </a:lnTo>
                  <a:lnTo>
                    <a:pt x="783" y="1312"/>
                  </a:lnTo>
                  <a:lnTo>
                    <a:pt x="794" y="1312"/>
                  </a:lnTo>
                  <a:lnTo>
                    <a:pt x="806" y="1314"/>
                  </a:lnTo>
                  <a:lnTo>
                    <a:pt x="816" y="1315"/>
                  </a:lnTo>
                  <a:lnTo>
                    <a:pt x="824" y="1318"/>
                  </a:lnTo>
                  <a:lnTo>
                    <a:pt x="833" y="1323"/>
                  </a:lnTo>
                  <a:lnTo>
                    <a:pt x="841" y="1327"/>
                  </a:lnTo>
                  <a:lnTo>
                    <a:pt x="849" y="1333"/>
                  </a:lnTo>
                  <a:lnTo>
                    <a:pt x="852" y="1336"/>
                  </a:lnTo>
                  <a:lnTo>
                    <a:pt x="856" y="1339"/>
                  </a:lnTo>
                  <a:lnTo>
                    <a:pt x="861" y="1347"/>
                  </a:lnTo>
                  <a:lnTo>
                    <a:pt x="865" y="1355"/>
                  </a:lnTo>
                  <a:lnTo>
                    <a:pt x="868" y="1361"/>
                  </a:lnTo>
                  <a:lnTo>
                    <a:pt x="870" y="1365"/>
                  </a:lnTo>
                  <a:lnTo>
                    <a:pt x="872" y="1369"/>
                  </a:lnTo>
                  <a:lnTo>
                    <a:pt x="873" y="1375"/>
                  </a:lnTo>
                  <a:lnTo>
                    <a:pt x="877" y="1386"/>
                  </a:lnTo>
                  <a:lnTo>
                    <a:pt x="878" y="1399"/>
                  </a:lnTo>
                  <a:lnTo>
                    <a:pt x="879" y="1413"/>
                  </a:lnTo>
                  <a:lnTo>
                    <a:pt x="880" y="1426"/>
                  </a:lnTo>
                  <a:lnTo>
                    <a:pt x="880" y="1707"/>
                  </a:lnTo>
                  <a:lnTo>
                    <a:pt x="1053" y="1707"/>
                  </a:lnTo>
                  <a:lnTo>
                    <a:pt x="1053" y="1378"/>
                  </a:lnTo>
                  <a:lnTo>
                    <a:pt x="1053" y="1364"/>
                  </a:lnTo>
                  <a:lnTo>
                    <a:pt x="1052" y="1351"/>
                  </a:lnTo>
                  <a:lnTo>
                    <a:pt x="1051" y="1338"/>
                  </a:lnTo>
                  <a:lnTo>
                    <a:pt x="1050" y="1325"/>
                  </a:lnTo>
                  <a:lnTo>
                    <a:pt x="1048" y="1314"/>
                  </a:lnTo>
                  <a:lnTo>
                    <a:pt x="1044" y="1302"/>
                  </a:lnTo>
                  <a:lnTo>
                    <a:pt x="1042" y="1291"/>
                  </a:lnTo>
                  <a:lnTo>
                    <a:pt x="1039" y="1281"/>
                  </a:lnTo>
                  <a:lnTo>
                    <a:pt x="1034" y="1269"/>
                  </a:lnTo>
                  <a:lnTo>
                    <a:pt x="1031" y="1261"/>
                  </a:lnTo>
                  <a:lnTo>
                    <a:pt x="1025" y="1251"/>
                  </a:lnTo>
                  <a:lnTo>
                    <a:pt x="1021" y="1243"/>
                  </a:lnTo>
                  <a:lnTo>
                    <a:pt x="1015" y="1234"/>
                  </a:lnTo>
                  <a:lnTo>
                    <a:pt x="1010" y="1226"/>
                  </a:lnTo>
                  <a:lnTo>
                    <a:pt x="1003" y="1218"/>
                  </a:lnTo>
                  <a:lnTo>
                    <a:pt x="998" y="1212"/>
                  </a:lnTo>
                  <a:lnTo>
                    <a:pt x="990" y="1205"/>
                  </a:lnTo>
                  <a:lnTo>
                    <a:pt x="983" y="1199"/>
                  </a:lnTo>
                  <a:lnTo>
                    <a:pt x="975" y="1194"/>
                  </a:lnTo>
                  <a:lnTo>
                    <a:pt x="968" y="1188"/>
                  </a:lnTo>
                  <a:lnTo>
                    <a:pt x="960" y="1184"/>
                  </a:lnTo>
                  <a:lnTo>
                    <a:pt x="952" y="1179"/>
                  </a:lnTo>
                  <a:lnTo>
                    <a:pt x="943" y="1175"/>
                  </a:lnTo>
                  <a:lnTo>
                    <a:pt x="934" y="1172"/>
                  </a:lnTo>
                  <a:lnTo>
                    <a:pt x="924" y="1168"/>
                  </a:lnTo>
                  <a:lnTo>
                    <a:pt x="915" y="1166"/>
                  </a:lnTo>
                  <a:lnTo>
                    <a:pt x="905" y="1164"/>
                  </a:lnTo>
                  <a:lnTo>
                    <a:pt x="895" y="1162"/>
                  </a:lnTo>
                  <a:lnTo>
                    <a:pt x="885" y="1161"/>
                  </a:lnTo>
                  <a:lnTo>
                    <a:pt x="874" y="1160"/>
                  </a:lnTo>
                  <a:lnTo>
                    <a:pt x="864" y="1160"/>
                  </a:lnTo>
                  <a:lnTo>
                    <a:pt x="853" y="1158"/>
                  </a:lnTo>
                  <a:lnTo>
                    <a:pt x="839" y="1160"/>
                  </a:lnTo>
                  <a:lnTo>
                    <a:pt x="826" y="1161"/>
                  </a:lnTo>
                  <a:lnTo>
                    <a:pt x="812" y="1162"/>
                  </a:lnTo>
                  <a:lnTo>
                    <a:pt x="800" y="1165"/>
                  </a:lnTo>
                  <a:lnTo>
                    <a:pt x="788" y="1167"/>
                  </a:lnTo>
                  <a:lnTo>
                    <a:pt x="776" y="1172"/>
                  </a:lnTo>
                  <a:lnTo>
                    <a:pt x="764" y="1176"/>
                  </a:lnTo>
                  <a:lnTo>
                    <a:pt x="753" y="1182"/>
                  </a:lnTo>
                  <a:lnTo>
                    <a:pt x="743" y="1187"/>
                  </a:lnTo>
                  <a:lnTo>
                    <a:pt x="733" y="1194"/>
                  </a:lnTo>
                  <a:lnTo>
                    <a:pt x="723" y="1201"/>
                  </a:lnTo>
                  <a:lnTo>
                    <a:pt x="714" y="1208"/>
                  </a:lnTo>
                  <a:lnTo>
                    <a:pt x="706" y="1217"/>
                  </a:lnTo>
                  <a:lnTo>
                    <a:pt x="702" y="1222"/>
                  </a:lnTo>
                  <a:lnTo>
                    <a:pt x="698" y="1226"/>
                  </a:lnTo>
                  <a:lnTo>
                    <a:pt x="690" y="1236"/>
                  </a:lnTo>
                  <a:lnTo>
                    <a:pt x="683" y="1246"/>
                  </a:lnTo>
                  <a:lnTo>
                    <a:pt x="681" y="1246"/>
                  </a:lnTo>
                  <a:lnTo>
                    <a:pt x="681" y="903"/>
                  </a:lnTo>
                  <a:close/>
                  <a:moveTo>
                    <a:pt x="1341" y="1724"/>
                  </a:moveTo>
                  <a:lnTo>
                    <a:pt x="1356" y="1724"/>
                  </a:lnTo>
                  <a:lnTo>
                    <a:pt x="1372" y="1723"/>
                  </a:lnTo>
                  <a:lnTo>
                    <a:pt x="1386" y="1720"/>
                  </a:lnTo>
                  <a:lnTo>
                    <a:pt x="1400" y="1718"/>
                  </a:lnTo>
                  <a:lnTo>
                    <a:pt x="1412" y="1714"/>
                  </a:lnTo>
                  <a:lnTo>
                    <a:pt x="1424" y="1710"/>
                  </a:lnTo>
                  <a:lnTo>
                    <a:pt x="1436" y="1705"/>
                  </a:lnTo>
                  <a:lnTo>
                    <a:pt x="1448" y="1699"/>
                  </a:lnTo>
                  <a:lnTo>
                    <a:pt x="1458" y="1694"/>
                  </a:lnTo>
                  <a:lnTo>
                    <a:pt x="1468" y="1687"/>
                  </a:lnTo>
                  <a:lnTo>
                    <a:pt x="1476" y="1679"/>
                  </a:lnTo>
                  <a:lnTo>
                    <a:pt x="1485" y="1672"/>
                  </a:lnTo>
                  <a:lnTo>
                    <a:pt x="1493" y="1663"/>
                  </a:lnTo>
                  <a:lnTo>
                    <a:pt x="1501" y="1654"/>
                  </a:lnTo>
                  <a:lnTo>
                    <a:pt x="1508" y="1645"/>
                  </a:lnTo>
                  <a:lnTo>
                    <a:pt x="1514" y="1635"/>
                  </a:lnTo>
                  <a:lnTo>
                    <a:pt x="1516" y="1635"/>
                  </a:lnTo>
                  <a:lnTo>
                    <a:pt x="1516" y="1707"/>
                  </a:lnTo>
                  <a:lnTo>
                    <a:pt x="1690" y="1707"/>
                  </a:lnTo>
                  <a:lnTo>
                    <a:pt x="1690" y="1176"/>
                  </a:lnTo>
                  <a:lnTo>
                    <a:pt x="1516" y="1176"/>
                  </a:lnTo>
                  <a:lnTo>
                    <a:pt x="1516" y="1248"/>
                  </a:lnTo>
                  <a:lnTo>
                    <a:pt x="1514" y="1248"/>
                  </a:lnTo>
                  <a:lnTo>
                    <a:pt x="1508" y="1238"/>
                  </a:lnTo>
                  <a:lnTo>
                    <a:pt x="1501" y="1229"/>
                  </a:lnTo>
                  <a:lnTo>
                    <a:pt x="1493" y="1221"/>
                  </a:lnTo>
                  <a:lnTo>
                    <a:pt x="1485" y="1212"/>
                  </a:lnTo>
                  <a:lnTo>
                    <a:pt x="1476" y="1204"/>
                  </a:lnTo>
                  <a:lnTo>
                    <a:pt x="1468" y="1196"/>
                  </a:lnTo>
                  <a:lnTo>
                    <a:pt x="1463" y="1193"/>
                  </a:lnTo>
                  <a:lnTo>
                    <a:pt x="1458" y="1189"/>
                  </a:lnTo>
                  <a:lnTo>
                    <a:pt x="1448" y="1184"/>
                  </a:lnTo>
                  <a:lnTo>
                    <a:pt x="1436" y="1178"/>
                  </a:lnTo>
                  <a:lnTo>
                    <a:pt x="1424" y="1173"/>
                  </a:lnTo>
                  <a:lnTo>
                    <a:pt x="1412" y="1168"/>
                  </a:lnTo>
                  <a:lnTo>
                    <a:pt x="1400" y="1165"/>
                  </a:lnTo>
                  <a:lnTo>
                    <a:pt x="1386" y="1163"/>
                  </a:lnTo>
                  <a:lnTo>
                    <a:pt x="1372" y="1161"/>
                  </a:lnTo>
                  <a:lnTo>
                    <a:pt x="1356" y="1160"/>
                  </a:lnTo>
                  <a:lnTo>
                    <a:pt x="1341" y="1158"/>
                  </a:lnTo>
                  <a:lnTo>
                    <a:pt x="1328" y="1160"/>
                  </a:lnTo>
                  <a:lnTo>
                    <a:pt x="1315" y="1160"/>
                  </a:lnTo>
                  <a:lnTo>
                    <a:pt x="1303" y="1162"/>
                  </a:lnTo>
                  <a:lnTo>
                    <a:pt x="1291" y="1164"/>
                  </a:lnTo>
                  <a:lnTo>
                    <a:pt x="1279" y="1166"/>
                  </a:lnTo>
                  <a:lnTo>
                    <a:pt x="1266" y="1169"/>
                  </a:lnTo>
                  <a:lnTo>
                    <a:pt x="1254" y="1173"/>
                  </a:lnTo>
                  <a:lnTo>
                    <a:pt x="1243" y="1177"/>
                  </a:lnTo>
                  <a:lnTo>
                    <a:pt x="1232" y="1182"/>
                  </a:lnTo>
                  <a:lnTo>
                    <a:pt x="1221" y="1187"/>
                  </a:lnTo>
                  <a:lnTo>
                    <a:pt x="1211" y="1193"/>
                  </a:lnTo>
                  <a:lnTo>
                    <a:pt x="1201" y="1199"/>
                  </a:lnTo>
                  <a:lnTo>
                    <a:pt x="1191" y="1206"/>
                  </a:lnTo>
                  <a:lnTo>
                    <a:pt x="1181" y="1214"/>
                  </a:lnTo>
                  <a:lnTo>
                    <a:pt x="1172" y="1222"/>
                  </a:lnTo>
                  <a:lnTo>
                    <a:pt x="1163" y="1231"/>
                  </a:lnTo>
                  <a:lnTo>
                    <a:pt x="1155" y="1239"/>
                  </a:lnTo>
                  <a:lnTo>
                    <a:pt x="1147" y="1249"/>
                  </a:lnTo>
                  <a:lnTo>
                    <a:pt x="1140" y="1259"/>
                  </a:lnTo>
                  <a:lnTo>
                    <a:pt x="1132" y="1271"/>
                  </a:lnTo>
                  <a:lnTo>
                    <a:pt x="1125" y="1282"/>
                  </a:lnTo>
                  <a:lnTo>
                    <a:pt x="1120" y="1294"/>
                  </a:lnTo>
                  <a:lnTo>
                    <a:pt x="1114" y="1306"/>
                  </a:lnTo>
                  <a:lnTo>
                    <a:pt x="1109" y="1318"/>
                  </a:lnTo>
                  <a:lnTo>
                    <a:pt x="1104" y="1333"/>
                  </a:lnTo>
                  <a:lnTo>
                    <a:pt x="1101" y="1346"/>
                  </a:lnTo>
                  <a:lnTo>
                    <a:pt x="1098" y="1361"/>
                  </a:lnTo>
                  <a:lnTo>
                    <a:pt x="1094" y="1376"/>
                  </a:lnTo>
                  <a:lnTo>
                    <a:pt x="1092" y="1392"/>
                  </a:lnTo>
                  <a:lnTo>
                    <a:pt x="1091" y="1407"/>
                  </a:lnTo>
                  <a:lnTo>
                    <a:pt x="1090" y="1424"/>
                  </a:lnTo>
                  <a:lnTo>
                    <a:pt x="1089" y="1442"/>
                  </a:lnTo>
                  <a:lnTo>
                    <a:pt x="1090" y="1458"/>
                  </a:lnTo>
                  <a:lnTo>
                    <a:pt x="1091" y="1475"/>
                  </a:lnTo>
                  <a:lnTo>
                    <a:pt x="1092" y="1492"/>
                  </a:lnTo>
                  <a:lnTo>
                    <a:pt x="1094" y="1507"/>
                  </a:lnTo>
                  <a:lnTo>
                    <a:pt x="1098" y="1523"/>
                  </a:lnTo>
                  <a:lnTo>
                    <a:pt x="1101" y="1537"/>
                  </a:lnTo>
                  <a:lnTo>
                    <a:pt x="1104" y="1550"/>
                  </a:lnTo>
                  <a:lnTo>
                    <a:pt x="1109" y="1564"/>
                  </a:lnTo>
                  <a:lnTo>
                    <a:pt x="1114" y="1577"/>
                  </a:lnTo>
                  <a:lnTo>
                    <a:pt x="1120" y="1589"/>
                  </a:lnTo>
                  <a:lnTo>
                    <a:pt x="1125" y="1602"/>
                  </a:lnTo>
                  <a:lnTo>
                    <a:pt x="1132" y="1613"/>
                  </a:lnTo>
                  <a:lnTo>
                    <a:pt x="1140" y="1624"/>
                  </a:lnTo>
                  <a:lnTo>
                    <a:pt x="1147" y="1634"/>
                  </a:lnTo>
                  <a:lnTo>
                    <a:pt x="1155" y="1644"/>
                  </a:lnTo>
                  <a:lnTo>
                    <a:pt x="1163" y="1653"/>
                  </a:lnTo>
                  <a:lnTo>
                    <a:pt x="1172" y="1662"/>
                  </a:lnTo>
                  <a:lnTo>
                    <a:pt x="1181" y="1669"/>
                  </a:lnTo>
                  <a:lnTo>
                    <a:pt x="1191" y="1677"/>
                  </a:lnTo>
                  <a:lnTo>
                    <a:pt x="1201" y="1684"/>
                  </a:lnTo>
                  <a:lnTo>
                    <a:pt x="1211" y="1690"/>
                  </a:lnTo>
                  <a:lnTo>
                    <a:pt x="1221" y="1696"/>
                  </a:lnTo>
                  <a:lnTo>
                    <a:pt x="1232" y="1702"/>
                  </a:lnTo>
                  <a:lnTo>
                    <a:pt x="1243" y="1706"/>
                  </a:lnTo>
                  <a:lnTo>
                    <a:pt x="1254" y="1710"/>
                  </a:lnTo>
                  <a:lnTo>
                    <a:pt x="1266" y="1714"/>
                  </a:lnTo>
                  <a:lnTo>
                    <a:pt x="1279" y="1717"/>
                  </a:lnTo>
                  <a:lnTo>
                    <a:pt x="1291" y="1719"/>
                  </a:lnTo>
                  <a:lnTo>
                    <a:pt x="1303" y="1722"/>
                  </a:lnTo>
                  <a:lnTo>
                    <a:pt x="1315" y="1723"/>
                  </a:lnTo>
                  <a:lnTo>
                    <a:pt x="1328" y="1724"/>
                  </a:lnTo>
                  <a:lnTo>
                    <a:pt x="1341" y="1724"/>
                  </a:lnTo>
                  <a:close/>
                  <a:moveTo>
                    <a:pt x="1389" y="1566"/>
                  </a:moveTo>
                  <a:lnTo>
                    <a:pt x="1376" y="1565"/>
                  </a:lnTo>
                  <a:lnTo>
                    <a:pt x="1370" y="1565"/>
                  </a:lnTo>
                  <a:lnTo>
                    <a:pt x="1364" y="1564"/>
                  </a:lnTo>
                  <a:lnTo>
                    <a:pt x="1352" y="1560"/>
                  </a:lnTo>
                  <a:lnTo>
                    <a:pt x="1346" y="1559"/>
                  </a:lnTo>
                  <a:lnTo>
                    <a:pt x="1341" y="1557"/>
                  </a:lnTo>
                  <a:lnTo>
                    <a:pt x="1330" y="1552"/>
                  </a:lnTo>
                  <a:lnTo>
                    <a:pt x="1325" y="1549"/>
                  </a:lnTo>
                  <a:lnTo>
                    <a:pt x="1320" y="1546"/>
                  </a:lnTo>
                  <a:lnTo>
                    <a:pt x="1315" y="1543"/>
                  </a:lnTo>
                  <a:lnTo>
                    <a:pt x="1311" y="1539"/>
                  </a:lnTo>
                  <a:lnTo>
                    <a:pt x="1302" y="1532"/>
                  </a:lnTo>
                  <a:lnTo>
                    <a:pt x="1294" y="1524"/>
                  </a:lnTo>
                  <a:lnTo>
                    <a:pt x="1288" y="1514"/>
                  </a:lnTo>
                  <a:lnTo>
                    <a:pt x="1282" y="1504"/>
                  </a:lnTo>
                  <a:lnTo>
                    <a:pt x="1279" y="1498"/>
                  </a:lnTo>
                  <a:lnTo>
                    <a:pt x="1276" y="1493"/>
                  </a:lnTo>
                  <a:lnTo>
                    <a:pt x="1272" y="1482"/>
                  </a:lnTo>
                  <a:lnTo>
                    <a:pt x="1270" y="1468"/>
                  </a:lnTo>
                  <a:lnTo>
                    <a:pt x="1269" y="1462"/>
                  </a:lnTo>
                  <a:lnTo>
                    <a:pt x="1268" y="1455"/>
                  </a:lnTo>
                  <a:lnTo>
                    <a:pt x="1268" y="1442"/>
                  </a:lnTo>
                  <a:lnTo>
                    <a:pt x="1268" y="1427"/>
                  </a:lnTo>
                  <a:lnTo>
                    <a:pt x="1270" y="1415"/>
                  </a:lnTo>
                  <a:lnTo>
                    <a:pt x="1271" y="1408"/>
                  </a:lnTo>
                  <a:lnTo>
                    <a:pt x="1272" y="1402"/>
                  </a:lnTo>
                  <a:lnTo>
                    <a:pt x="1276" y="1391"/>
                  </a:lnTo>
                  <a:lnTo>
                    <a:pt x="1279" y="1385"/>
                  </a:lnTo>
                  <a:lnTo>
                    <a:pt x="1282" y="1379"/>
                  </a:lnTo>
                  <a:lnTo>
                    <a:pt x="1288" y="1369"/>
                  </a:lnTo>
                  <a:lnTo>
                    <a:pt x="1294" y="1359"/>
                  </a:lnTo>
                  <a:lnTo>
                    <a:pt x="1302" y="1351"/>
                  </a:lnTo>
                  <a:lnTo>
                    <a:pt x="1306" y="1347"/>
                  </a:lnTo>
                  <a:lnTo>
                    <a:pt x="1311" y="1344"/>
                  </a:lnTo>
                  <a:lnTo>
                    <a:pt x="1315" y="1341"/>
                  </a:lnTo>
                  <a:lnTo>
                    <a:pt x="1320" y="1337"/>
                  </a:lnTo>
                  <a:lnTo>
                    <a:pt x="1330" y="1331"/>
                  </a:lnTo>
                  <a:lnTo>
                    <a:pt x="1341" y="1326"/>
                  </a:lnTo>
                  <a:lnTo>
                    <a:pt x="1352" y="1323"/>
                  </a:lnTo>
                  <a:lnTo>
                    <a:pt x="1364" y="1319"/>
                  </a:lnTo>
                  <a:lnTo>
                    <a:pt x="1370" y="1318"/>
                  </a:lnTo>
                  <a:lnTo>
                    <a:pt x="1376" y="1318"/>
                  </a:lnTo>
                  <a:lnTo>
                    <a:pt x="1389" y="1317"/>
                  </a:lnTo>
                  <a:lnTo>
                    <a:pt x="1402" y="1318"/>
                  </a:lnTo>
                  <a:lnTo>
                    <a:pt x="1414" y="1319"/>
                  </a:lnTo>
                  <a:lnTo>
                    <a:pt x="1426" y="1323"/>
                  </a:lnTo>
                  <a:lnTo>
                    <a:pt x="1432" y="1324"/>
                  </a:lnTo>
                  <a:lnTo>
                    <a:pt x="1438" y="1326"/>
                  </a:lnTo>
                  <a:lnTo>
                    <a:pt x="1449" y="1331"/>
                  </a:lnTo>
                  <a:lnTo>
                    <a:pt x="1454" y="1334"/>
                  </a:lnTo>
                  <a:lnTo>
                    <a:pt x="1459" y="1337"/>
                  </a:lnTo>
                  <a:lnTo>
                    <a:pt x="1463" y="1341"/>
                  </a:lnTo>
                  <a:lnTo>
                    <a:pt x="1469" y="1344"/>
                  </a:lnTo>
                  <a:lnTo>
                    <a:pt x="1476" y="1351"/>
                  </a:lnTo>
                  <a:lnTo>
                    <a:pt x="1484" y="1359"/>
                  </a:lnTo>
                  <a:lnTo>
                    <a:pt x="1492" y="1369"/>
                  </a:lnTo>
                  <a:lnTo>
                    <a:pt x="1498" y="1379"/>
                  </a:lnTo>
                  <a:lnTo>
                    <a:pt x="1500" y="1385"/>
                  </a:lnTo>
                  <a:lnTo>
                    <a:pt x="1503" y="1391"/>
                  </a:lnTo>
                  <a:lnTo>
                    <a:pt x="1506" y="1402"/>
                  </a:lnTo>
                  <a:lnTo>
                    <a:pt x="1510" y="1415"/>
                  </a:lnTo>
                  <a:lnTo>
                    <a:pt x="1511" y="1421"/>
                  </a:lnTo>
                  <a:lnTo>
                    <a:pt x="1511" y="1427"/>
                  </a:lnTo>
                  <a:lnTo>
                    <a:pt x="1512" y="1442"/>
                  </a:lnTo>
                  <a:lnTo>
                    <a:pt x="1511" y="1455"/>
                  </a:lnTo>
                  <a:lnTo>
                    <a:pt x="1510" y="1468"/>
                  </a:lnTo>
                  <a:lnTo>
                    <a:pt x="1509" y="1475"/>
                  </a:lnTo>
                  <a:lnTo>
                    <a:pt x="1506" y="1482"/>
                  </a:lnTo>
                  <a:lnTo>
                    <a:pt x="1503" y="1493"/>
                  </a:lnTo>
                  <a:lnTo>
                    <a:pt x="1500" y="1498"/>
                  </a:lnTo>
                  <a:lnTo>
                    <a:pt x="1498" y="1504"/>
                  </a:lnTo>
                  <a:lnTo>
                    <a:pt x="1492" y="1514"/>
                  </a:lnTo>
                  <a:lnTo>
                    <a:pt x="1484" y="1524"/>
                  </a:lnTo>
                  <a:lnTo>
                    <a:pt x="1476" y="1532"/>
                  </a:lnTo>
                  <a:lnTo>
                    <a:pt x="1473" y="1536"/>
                  </a:lnTo>
                  <a:lnTo>
                    <a:pt x="1469" y="1539"/>
                  </a:lnTo>
                  <a:lnTo>
                    <a:pt x="1463" y="1543"/>
                  </a:lnTo>
                  <a:lnTo>
                    <a:pt x="1459" y="1546"/>
                  </a:lnTo>
                  <a:lnTo>
                    <a:pt x="1449" y="1552"/>
                  </a:lnTo>
                  <a:lnTo>
                    <a:pt x="1438" y="1557"/>
                  </a:lnTo>
                  <a:lnTo>
                    <a:pt x="1426" y="1560"/>
                  </a:lnTo>
                  <a:lnTo>
                    <a:pt x="1414" y="1564"/>
                  </a:lnTo>
                  <a:lnTo>
                    <a:pt x="1402" y="1565"/>
                  </a:lnTo>
                  <a:lnTo>
                    <a:pt x="1389" y="1566"/>
                  </a:lnTo>
                  <a:close/>
                  <a:moveTo>
                    <a:pt x="2100" y="1158"/>
                  </a:moveTo>
                  <a:lnTo>
                    <a:pt x="2086" y="1160"/>
                  </a:lnTo>
                  <a:lnTo>
                    <a:pt x="2072" y="1161"/>
                  </a:lnTo>
                  <a:lnTo>
                    <a:pt x="2058" y="1163"/>
                  </a:lnTo>
                  <a:lnTo>
                    <a:pt x="2046" y="1165"/>
                  </a:lnTo>
                  <a:lnTo>
                    <a:pt x="2034" y="1169"/>
                  </a:lnTo>
                  <a:lnTo>
                    <a:pt x="2022" y="1174"/>
                  </a:lnTo>
                  <a:lnTo>
                    <a:pt x="2010" y="1178"/>
                  </a:lnTo>
                  <a:lnTo>
                    <a:pt x="1998" y="1184"/>
                  </a:lnTo>
                  <a:lnTo>
                    <a:pt x="1987" y="1191"/>
                  </a:lnTo>
                  <a:lnTo>
                    <a:pt x="1977" y="1198"/>
                  </a:lnTo>
                  <a:lnTo>
                    <a:pt x="1967" y="1206"/>
                  </a:lnTo>
                  <a:lnTo>
                    <a:pt x="1959" y="1215"/>
                  </a:lnTo>
                  <a:lnTo>
                    <a:pt x="1950" y="1225"/>
                  </a:lnTo>
                  <a:lnTo>
                    <a:pt x="1941" y="1235"/>
                  </a:lnTo>
                  <a:lnTo>
                    <a:pt x="1933" y="1245"/>
                  </a:lnTo>
                  <a:lnTo>
                    <a:pt x="1926" y="1256"/>
                  </a:lnTo>
                  <a:lnTo>
                    <a:pt x="1924" y="1256"/>
                  </a:lnTo>
                  <a:lnTo>
                    <a:pt x="1924" y="1176"/>
                  </a:lnTo>
                  <a:lnTo>
                    <a:pt x="1754" y="1176"/>
                  </a:lnTo>
                  <a:lnTo>
                    <a:pt x="1754" y="1707"/>
                  </a:lnTo>
                  <a:lnTo>
                    <a:pt x="1927" y="1707"/>
                  </a:lnTo>
                  <a:lnTo>
                    <a:pt x="1927" y="1441"/>
                  </a:lnTo>
                  <a:lnTo>
                    <a:pt x="1927" y="1424"/>
                  </a:lnTo>
                  <a:lnTo>
                    <a:pt x="1930" y="1408"/>
                  </a:lnTo>
                  <a:lnTo>
                    <a:pt x="1931" y="1401"/>
                  </a:lnTo>
                  <a:lnTo>
                    <a:pt x="1932" y="1394"/>
                  </a:lnTo>
                  <a:lnTo>
                    <a:pt x="1933" y="1387"/>
                  </a:lnTo>
                  <a:lnTo>
                    <a:pt x="1935" y="1381"/>
                  </a:lnTo>
                  <a:lnTo>
                    <a:pt x="1940" y="1368"/>
                  </a:lnTo>
                  <a:lnTo>
                    <a:pt x="1944" y="1358"/>
                  </a:lnTo>
                  <a:lnTo>
                    <a:pt x="1947" y="1354"/>
                  </a:lnTo>
                  <a:lnTo>
                    <a:pt x="1950" y="1349"/>
                  </a:lnTo>
                  <a:lnTo>
                    <a:pt x="1953" y="1345"/>
                  </a:lnTo>
                  <a:lnTo>
                    <a:pt x="1956" y="1341"/>
                  </a:lnTo>
                  <a:lnTo>
                    <a:pt x="1964" y="1334"/>
                  </a:lnTo>
                  <a:lnTo>
                    <a:pt x="1972" y="1327"/>
                  </a:lnTo>
                  <a:lnTo>
                    <a:pt x="1980" y="1323"/>
                  </a:lnTo>
                  <a:lnTo>
                    <a:pt x="1989" y="1318"/>
                  </a:lnTo>
                  <a:lnTo>
                    <a:pt x="1998" y="1315"/>
                  </a:lnTo>
                  <a:lnTo>
                    <a:pt x="2008" y="1314"/>
                  </a:lnTo>
                  <a:lnTo>
                    <a:pt x="2018" y="1312"/>
                  </a:lnTo>
                  <a:lnTo>
                    <a:pt x="2030" y="1312"/>
                  </a:lnTo>
                  <a:lnTo>
                    <a:pt x="2041" y="1312"/>
                  </a:lnTo>
                  <a:lnTo>
                    <a:pt x="2052" y="1314"/>
                  </a:lnTo>
                  <a:lnTo>
                    <a:pt x="2063" y="1315"/>
                  </a:lnTo>
                  <a:lnTo>
                    <a:pt x="2072" y="1318"/>
                  </a:lnTo>
                  <a:lnTo>
                    <a:pt x="2081" y="1323"/>
                  </a:lnTo>
                  <a:lnTo>
                    <a:pt x="2088" y="1327"/>
                  </a:lnTo>
                  <a:lnTo>
                    <a:pt x="2096" y="1333"/>
                  </a:lnTo>
                  <a:lnTo>
                    <a:pt x="2100" y="1336"/>
                  </a:lnTo>
                  <a:lnTo>
                    <a:pt x="2103" y="1339"/>
                  </a:lnTo>
                  <a:lnTo>
                    <a:pt x="2108" y="1347"/>
                  </a:lnTo>
                  <a:lnTo>
                    <a:pt x="2113" y="1355"/>
                  </a:lnTo>
                  <a:lnTo>
                    <a:pt x="2115" y="1361"/>
                  </a:lnTo>
                  <a:lnTo>
                    <a:pt x="2117" y="1365"/>
                  </a:lnTo>
                  <a:lnTo>
                    <a:pt x="2121" y="1375"/>
                  </a:lnTo>
                  <a:lnTo>
                    <a:pt x="2124" y="1386"/>
                  </a:lnTo>
                  <a:lnTo>
                    <a:pt x="2125" y="1399"/>
                  </a:lnTo>
                  <a:lnTo>
                    <a:pt x="2127" y="1413"/>
                  </a:lnTo>
                  <a:lnTo>
                    <a:pt x="2127" y="1426"/>
                  </a:lnTo>
                  <a:lnTo>
                    <a:pt x="2127" y="1707"/>
                  </a:lnTo>
                  <a:lnTo>
                    <a:pt x="2300" y="1707"/>
                  </a:lnTo>
                  <a:lnTo>
                    <a:pt x="2300" y="1378"/>
                  </a:lnTo>
                  <a:lnTo>
                    <a:pt x="2300" y="1364"/>
                  </a:lnTo>
                  <a:lnTo>
                    <a:pt x="2298" y="1351"/>
                  </a:lnTo>
                  <a:lnTo>
                    <a:pt x="2297" y="1338"/>
                  </a:lnTo>
                  <a:lnTo>
                    <a:pt x="2296" y="1325"/>
                  </a:lnTo>
                  <a:lnTo>
                    <a:pt x="2294" y="1314"/>
                  </a:lnTo>
                  <a:lnTo>
                    <a:pt x="2291" y="1302"/>
                  </a:lnTo>
                  <a:lnTo>
                    <a:pt x="2288" y="1291"/>
                  </a:lnTo>
                  <a:lnTo>
                    <a:pt x="2285" y="1281"/>
                  </a:lnTo>
                  <a:lnTo>
                    <a:pt x="2281" y="1269"/>
                  </a:lnTo>
                  <a:lnTo>
                    <a:pt x="2277" y="1261"/>
                  </a:lnTo>
                  <a:lnTo>
                    <a:pt x="2272" y="1251"/>
                  </a:lnTo>
                  <a:lnTo>
                    <a:pt x="2267" y="1243"/>
                  </a:lnTo>
                  <a:lnTo>
                    <a:pt x="2262" y="1234"/>
                  </a:lnTo>
                  <a:lnTo>
                    <a:pt x="2256" y="1226"/>
                  </a:lnTo>
                  <a:lnTo>
                    <a:pt x="2250" y="1218"/>
                  </a:lnTo>
                  <a:lnTo>
                    <a:pt x="2244" y="1212"/>
                  </a:lnTo>
                  <a:lnTo>
                    <a:pt x="2236" y="1205"/>
                  </a:lnTo>
                  <a:lnTo>
                    <a:pt x="2230" y="1199"/>
                  </a:lnTo>
                  <a:lnTo>
                    <a:pt x="2222" y="1194"/>
                  </a:lnTo>
                  <a:lnTo>
                    <a:pt x="2214" y="1188"/>
                  </a:lnTo>
                  <a:lnTo>
                    <a:pt x="2206" y="1184"/>
                  </a:lnTo>
                  <a:lnTo>
                    <a:pt x="2198" y="1179"/>
                  </a:lnTo>
                  <a:lnTo>
                    <a:pt x="2190" y="1175"/>
                  </a:lnTo>
                  <a:lnTo>
                    <a:pt x="2181" y="1172"/>
                  </a:lnTo>
                  <a:lnTo>
                    <a:pt x="2171" y="1168"/>
                  </a:lnTo>
                  <a:lnTo>
                    <a:pt x="2162" y="1166"/>
                  </a:lnTo>
                  <a:lnTo>
                    <a:pt x="2152" y="1164"/>
                  </a:lnTo>
                  <a:lnTo>
                    <a:pt x="2142" y="1162"/>
                  </a:lnTo>
                  <a:lnTo>
                    <a:pt x="2132" y="1161"/>
                  </a:lnTo>
                  <a:lnTo>
                    <a:pt x="2121" y="1160"/>
                  </a:lnTo>
                  <a:lnTo>
                    <a:pt x="2111" y="1160"/>
                  </a:lnTo>
                  <a:lnTo>
                    <a:pt x="2100" y="1158"/>
                  </a:lnTo>
                  <a:close/>
                  <a:moveTo>
                    <a:pt x="2651" y="1954"/>
                  </a:moveTo>
                  <a:lnTo>
                    <a:pt x="2668" y="1954"/>
                  </a:lnTo>
                  <a:lnTo>
                    <a:pt x="2685" y="1953"/>
                  </a:lnTo>
                  <a:lnTo>
                    <a:pt x="2701" y="1951"/>
                  </a:lnTo>
                  <a:lnTo>
                    <a:pt x="2716" y="1950"/>
                  </a:lnTo>
                  <a:lnTo>
                    <a:pt x="2731" y="1948"/>
                  </a:lnTo>
                  <a:lnTo>
                    <a:pt x="2745" y="1946"/>
                  </a:lnTo>
                  <a:lnTo>
                    <a:pt x="2759" y="1943"/>
                  </a:lnTo>
                  <a:lnTo>
                    <a:pt x="2773" y="1939"/>
                  </a:lnTo>
                  <a:lnTo>
                    <a:pt x="2779" y="1937"/>
                  </a:lnTo>
                  <a:lnTo>
                    <a:pt x="2786" y="1935"/>
                  </a:lnTo>
                  <a:lnTo>
                    <a:pt x="2798" y="1930"/>
                  </a:lnTo>
                  <a:lnTo>
                    <a:pt x="2810" y="1925"/>
                  </a:lnTo>
                  <a:lnTo>
                    <a:pt x="2822" y="1919"/>
                  </a:lnTo>
                  <a:lnTo>
                    <a:pt x="2833" y="1914"/>
                  </a:lnTo>
                  <a:lnTo>
                    <a:pt x="2844" y="1907"/>
                  </a:lnTo>
                  <a:lnTo>
                    <a:pt x="2853" y="1900"/>
                  </a:lnTo>
                  <a:lnTo>
                    <a:pt x="2863" y="1893"/>
                  </a:lnTo>
                  <a:lnTo>
                    <a:pt x="2872" y="1885"/>
                  </a:lnTo>
                  <a:lnTo>
                    <a:pt x="2879" y="1877"/>
                  </a:lnTo>
                  <a:lnTo>
                    <a:pt x="2887" y="1868"/>
                  </a:lnTo>
                  <a:lnTo>
                    <a:pt x="2895" y="1858"/>
                  </a:lnTo>
                  <a:lnTo>
                    <a:pt x="2902" y="1848"/>
                  </a:lnTo>
                  <a:lnTo>
                    <a:pt x="2907" y="1838"/>
                  </a:lnTo>
                  <a:lnTo>
                    <a:pt x="2913" y="1827"/>
                  </a:lnTo>
                  <a:lnTo>
                    <a:pt x="2918" y="1816"/>
                  </a:lnTo>
                  <a:lnTo>
                    <a:pt x="2923" y="1804"/>
                  </a:lnTo>
                  <a:lnTo>
                    <a:pt x="2926" y="1792"/>
                  </a:lnTo>
                  <a:lnTo>
                    <a:pt x="2929" y="1779"/>
                  </a:lnTo>
                  <a:lnTo>
                    <a:pt x="2932" y="1766"/>
                  </a:lnTo>
                  <a:lnTo>
                    <a:pt x="2934" y="1752"/>
                  </a:lnTo>
                  <a:lnTo>
                    <a:pt x="2936" y="1737"/>
                  </a:lnTo>
                  <a:lnTo>
                    <a:pt x="2937" y="1723"/>
                  </a:lnTo>
                  <a:lnTo>
                    <a:pt x="2937" y="1707"/>
                  </a:lnTo>
                  <a:lnTo>
                    <a:pt x="2937" y="1176"/>
                  </a:lnTo>
                  <a:lnTo>
                    <a:pt x="2764" y="1176"/>
                  </a:lnTo>
                  <a:lnTo>
                    <a:pt x="2764" y="1248"/>
                  </a:lnTo>
                  <a:lnTo>
                    <a:pt x="2762" y="1248"/>
                  </a:lnTo>
                  <a:lnTo>
                    <a:pt x="2755" y="1238"/>
                  </a:lnTo>
                  <a:lnTo>
                    <a:pt x="2748" y="1229"/>
                  </a:lnTo>
                  <a:lnTo>
                    <a:pt x="2741" y="1221"/>
                  </a:lnTo>
                  <a:lnTo>
                    <a:pt x="2733" y="1212"/>
                  </a:lnTo>
                  <a:lnTo>
                    <a:pt x="2724" y="1204"/>
                  </a:lnTo>
                  <a:lnTo>
                    <a:pt x="2715" y="1196"/>
                  </a:lnTo>
                  <a:lnTo>
                    <a:pt x="2709" y="1193"/>
                  </a:lnTo>
                  <a:lnTo>
                    <a:pt x="2705" y="1189"/>
                  </a:lnTo>
                  <a:lnTo>
                    <a:pt x="2694" y="1184"/>
                  </a:lnTo>
                  <a:lnTo>
                    <a:pt x="2684" y="1178"/>
                  </a:lnTo>
                  <a:lnTo>
                    <a:pt x="2672" y="1173"/>
                  </a:lnTo>
                  <a:lnTo>
                    <a:pt x="2659" y="1168"/>
                  </a:lnTo>
                  <a:lnTo>
                    <a:pt x="2646" y="1165"/>
                  </a:lnTo>
                  <a:lnTo>
                    <a:pt x="2633" y="1163"/>
                  </a:lnTo>
                  <a:lnTo>
                    <a:pt x="2618" y="1161"/>
                  </a:lnTo>
                  <a:lnTo>
                    <a:pt x="2604" y="1160"/>
                  </a:lnTo>
                  <a:lnTo>
                    <a:pt x="2587" y="1158"/>
                  </a:lnTo>
                  <a:lnTo>
                    <a:pt x="2575" y="1160"/>
                  </a:lnTo>
                  <a:lnTo>
                    <a:pt x="2562" y="1160"/>
                  </a:lnTo>
                  <a:lnTo>
                    <a:pt x="2537" y="1164"/>
                  </a:lnTo>
                  <a:lnTo>
                    <a:pt x="2525" y="1166"/>
                  </a:lnTo>
                  <a:lnTo>
                    <a:pt x="2513" y="1169"/>
                  </a:lnTo>
                  <a:lnTo>
                    <a:pt x="2502" y="1173"/>
                  </a:lnTo>
                  <a:lnTo>
                    <a:pt x="2491" y="1177"/>
                  </a:lnTo>
                  <a:lnTo>
                    <a:pt x="2479" y="1182"/>
                  </a:lnTo>
                  <a:lnTo>
                    <a:pt x="2468" y="1187"/>
                  </a:lnTo>
                  <a:lnTo>
                    <a:pt x="2457" y="1193"/>
                  </a:lnTo>
                  <a:lnTo>
                    <a:pt x="2447" y="1199"/>
                  </a:lnTo>
                  <a:lnTo>
                    <a:pt x="2437" y="1206"/>
                  </a:lnTo>
                  <a:lnTo>
                    <a:pt x="2428" y="1214"/>
                  </a:lnTo>
                  <a:lnTo>
                    <a:pt x="2419" y="1222"/>
                  </a:lnTo>
                  <a:lnTo>
                    <a:pt x="2411" y="1231"/>
                  </a:lnTo>
                  <a:lnTo>
                    <a:pt x="2402" y="1239"/>
                  </a:lnTo>
                  <a:lnTo>
                    <a:pt x="2394" y="1249"/>
                  </a:lnTo>
                  <a:lnTo>
                    <a:pt x="2386" y="1259"/>
                  </a:lnTo>
                  <a:lnTo>
                    <a:pt x="2379" y="1271"/>
                  </a:lnTo>
                  <a:lnTo>
                    <a:pt x="2373" y="1282"/>
                  </a:lnTo>
                  <a:lnTo>
                    <a:pt x="2366" y="1293"/>
                  </a:lnTo>
                  <a:lnTo>
                    <a:pt x="2361" y="1305"/>
                  </a:lnTo>
                  <a:lnTo>
                    <a:pt x="2356" y="1318"/>
                  </a:lnTo>
                  <a:lnTo>
                    <a:pt x="2352" y="1332"/>
                  </a:lnTo>
                  <a:lnTo>
                    <a:pt x="2347" y="1346"/>
                  </a:lnTo>
                  <a:lnTo>
                    <a:pt x="2346" y="1353"/>
                  </a:lnTo>
                  <a:lnTo>
                    <a:pt x="2344" y="1361"/>
                  </a:lnTo>
                  <a:lnTo>
                    <a:pt x="2342" y="1375"/>
                  </a:lnTo>
                  <a:lnTo>
                    <a:pt x="2340" y="1391"/>
                  </a:lnTo>
                  <a:lnTo>
                    <a:pt x="2337" y="1407"/>
                  </a:lnTo>
                  <a:lnTo>
                    <a:pt x="2336" y="1424"/>
                  </a:lnTo>
                  <a:lnTo>
                    <a:pt x="2336" y="1441"/>
                  </a:lnTo>
                  <a:lnTo>
                    <a:pt x="2336" y="1457"/>
                  </a:lnTo>
                  <a:lnTo>
                    <a:pt x="2337" y="1474"/>
                  </a:lnTo>
                  <a:lnTo>
                    <a:pt x="2338" y="1489"/>
                  </a:lnTo>
                  <a:lnTo>
                    <a:pt x="2341" y="1505"/>
                  </a:lnTo>
                  <a:lnTo>
                    <a:pt x="2344" y="1519"/>
                  </a:lnTo>
                  <a:lnTo>
                    <a:pt x="2347" y="1534"/>
                  </a:lnTo>
                  <a:lnTo>
                    <a:pt x="2352" y="1548"/>
                  </a:lnTo>
                  <a:lnTo>
                    <a:pt x="2356" y="1562"/>
                  </a:lnTo>
                  <a:lnTo>
                    <a:pt x="2361" y="1574"/>
                  </a:lnTo>
                  <a:lnTo>
                    <a:pt x="2366" y="1586"/>
                  </a:lnTo>
                  <a:lnTo>
                    <a:pt x="2372" y="1597"/>
                  </a:lnTo>
                  <a:lnTo>
                    <a:pt x="2378" y="1608"/>
                  </a:lnTo>
                  <a:lnTo>
                    <a:pt x="2386" y="1619"/>
                  </a:lnTo>
                  <a:lnTo>
                    <a:pt x="2393" y="1629"/>
                  </a:lnTo>
                  <a:lnTo>
                    <a:pt x="2401" y="1638"/>
                  </a:lnTo>
                  <a:lnTo>
                    <a:pt x="2409" y="1647"/>
                  </a:lnTo>
                  <a:lnTo>
                    <a:pt x="2418" y="1656"/>
                  </a:lnTo>
                  <a:lnTo>
                    <a:pt x="2427" y="1664"/>
                  </a:lnTo>
                  <a:lnTo>
                    <a:pt x="2436" y="1670"/>
                  </a:lnTo>
                  <a:lnTo>
                    <a:pt x="2446" y="1677"/>
                  </a:lnTo>
                  <a:lnTo>
                    <a:pt x="2456" y="1684"/>
                  </a:lnTo>
                  <a:lnTo>
                    <a:pt x="2467" y="1689"/>
                  </a:lnTo>
                  <a:lnTo>
                    <a:pt x="2477" y="1695"/>
                  </a:lnTo>
                  <a:lnTo>
                    <a:pt x="2488" y="1699"/>
                  </a:lnTo>
                  <a:lnTo>
                    <a:pt x="2501" y="1703"/>
                  </a:lnTo>
                  <a:lnTo>
                    <a:pt x="2512" y="1706"/>
                  </a:lnTo>
                  <a:lnTo>
                    <a:pt x="2524" y="1709"/>
                  </a:lnTo>
                  <a:lnTo>
                    <a:pt x="2536" y="1712"/>
                  </a:lnTo>
                  <a:lnTo>
                    <a:pt x="2548" y="1714"/>
                  </a:lnTo>
                  <a:lnTo>
                    <a:pt x="2561" y="1715"/>
                  </a:lnTo>
                  <a:lnTo>
                    <a:pt x="2574" y="1716"/>
                  </a:lnTo>
                  <a:lnTo>
                    <a:pt x="2586" y="1716"/>
                  </a:lnTo>
                  <a:lnTo>
                    <a:pt x="2603" y="1716"/>
                  </a:lnTo>
                  <a:lnTo>
                    <a:pt x="2618" y="1715"/>
                  </a:lnTo>
                  <a:lnTo>
                    <a:pt x="2634" y="1713"/>
                  </a:lnTo>
                  <a:lnTo>
                    <a:pt x="2647" y="1709"/>
                  </a:lnTo>
                  <a:lnTo>
                    <a:pt x="2661" y="1706"/>
                  </a:lnTo>
                  <a:lnTo>
                    <a:pt x="2673" y="1702"/>
                  </a:lnTo>
                  <a:lnTo>
                    <a:pt x="2685" y="1697"/>
                  </a:lnTo>
                  <a:lnTo>
                    <a:pt x="2696" y="1692"/>
                  </a:lnTo>
                  <a:lnTo>
                    <a:pt x="2706" y="1686"/>
                  </a:lnTo>
                  <a:lnTo>
                    <a:pt x="2716" y="1679"/>
                  </a:lnTo>
                  <a:lnTo>
                    <a:pt x="2725" y="1673"/>
                  </a:lnTo>
                  <a:lnTo>
                    <a:pt x="2734" y="1666"/>
                  </a:lnTo>
                  <a:lnTo>
                    <a:pt x="2742" y="1658"/>
                  </a:lnTo>
                  <a:lnTo>
                    <a:pt x="2748" y="1652"/>
                  </a:lnTo>
                  <a:lnTo>
                    <a:pt x="2755" y="1644"/>
                  </a:lnTo>
                  <a:lnTo>
                    <a:pt x="2762" y="1636"/>
                  </a:lnTo>
                  <a:lnTo>
                    <a:pt x="2764" y="1636"/>
                  </a:lnTo>
                  <a:lnTo>
                    <a:pt x="2764" y="1670"/>
                  </a:lnTo>
                  <a:lnTo>
                    <a:pt x="2763" y="1687"/>
                  </a:lnTo>
                  <a:lnTo>
                    <a:pt x="2762" y="1703"/>
                  </a:lnTo>
                  <a:lnTo>
                    <a:pt x="2759" y="1716"/>
                  </a:lnTo>
                  <a:lnTo>
                    <a:pt x="2758" y="1723"/>
                  </a:lnTo>
                  <a:lnTo>
                    <a:pt x="2756" y="1728"/>
                  </a:lnTo>
                  <a:lnTo>
                    <a:pt x="2754" y="1734"/>
                  </a:lnTo>
                  <a:lnTo>
                    <a:pt x="2752" y="1739"/>
                  </a:lnTo>
                  <a:lnTo>
                    <a:pt x="2747" y="1749"/>
                  </a:lnTo>
                  <a:lnTo>
                    <a:pt x="2741" y="1758"/>
                  </a:lnTo>
                  <a:lnTo>
                    <a:pt x="2737" y="1763"/>
                  </a:lnTo>
                  <a:lnTo>
                    <a:pt x="2734" y="1766"/>
                  </a:lnTo>
                  <a:lnTo>
                    <a:pt x="2725" y="1773"/>
                  </a:lnTo>
                  <a:lnTo>
                    <a:pt x="2716" y="1778"/>
                  </a:lnTo>
                  <a:lnTo>
                    <a:pt x="2706" y="1783"/>
                  </a:lnTo>
                  <a:lnTo>
                    <a:pt x="2695" y="1786"/>
                  </a:lnTo>
                  <a:lnTo>
                    <a:pt x="2683" y="1789"/>
                  </a:lnTo>
                  <a:lnTo>
                    <a:pt x="2668" y="1790"/>
                  </a:lnTo>
                  <a:lnTo>
                    <a:pt x="2654" y="1792"/>
                  </a:lnTo>
                  <a:lnTo>
                    <a:pt x="2638" y="1792"/>
                  </a:lnTo>
                  <a:lnTo>
                    <a:pt x="2623" y="1792"/>
                  </a:lnTo>
                  <a:lnTo>
                    <a:pt x="2605" y="1790"/>
                  </a:lnTo>
                  <a:lnTo>
                    <a:pt x="2585" y="1789"/>
                  </a:lnTo>
                  <a:lnTo>
                    <a:pt x="2563" y="1787"/>
                  </a:lnTo>
                  <a:lnTo>
                    <a:pt x="2538" y="1783"/>
                  </a:lnTo>
                  <a:lnTo>
                    <a:pt x="2513" y="1778"/>
                  </a:lnTo>
                  <a:lnTo>
                    <a:pt x="2484" y="1773"/>
                  </a:lnTo>
                  <a:lnTo>
                    <a:pt x="2452" y="1766"/>
                  </a:lnTo>
                  <a:lnTo>
                    <a:pt x="2424" y="1928"/>
                  </a:lnTo>
                  <a:lnTo>
                    <a:pt x="2456" y="1934"/>
                  </a:lnTo>
                  <a:lnTo>
                    <a:pt x="2489" y="1939"/>
                  </a:lnTo>
                  <a:lnTo>
                    <a:pt x="2521" y="1944"/>
                  </a:lnTo>
                  <a:lnTo>
                    <a:pt x="2551" y="1948"/>
                  </a:lnTo>
                  <a:lnTo>
                    <a:pt x="2578" y="1950"/>
                  </a:lnTo>
                  <a:lnTo>
                    <a:pt x="2605" y="1953"/>
                  </a:lnTo>
                  <a:lnTo>
                    <a:pt x="2629" y="1954"/>
                  </a:lnTo>
                  <a:lnTo>
                    <a:pt x="2651" y="1954"/>
                  </a:lnTo>
                  <a:close/>
                  <a:moveTo>
                    <a:pt x="2636" y="1566"/>
                  </a:moveTo>
                  <a:lnTo>
                    <a:pt x="2623" y="1565"/>
                  </a:lnTo>
                  <a:lnTo>
                    <a:pt x="2617" y="1565"/>
                  </a:lnTo>
                  <a:lnTo>
                    <a:pt x="2611" y="1564"/>
                  </a:lnTo>
                  <a:lnTo>
                    <a:pt x="2599" y="1560"/>
                  </a:lnTo>
                  <a:lnTo>
                    <a:pt x="2594" y="1559"/>
                  </a:lnTo>
                  <a:lnTo>
                    <a:pt x="2588" y="1557"/>
                  </a:lnTo>
                  <a:lnTo>
                    <a:pt x="2577" y="1552"/>
                  </a:lnTo>
                  <a:lnTo>
                    <a:pt x="2567" y="1546"/>
                  </a:lnTo>
                  <a:lnTo>
                    <a:pt x="2563" y="1543"/>
                  </a:lnTo>
                  <a:lnTo>
                    <a:pt x="2558" y="1539"/>
                  </a:lnTo>
                  <a:lnTo>
                    <a:pt x="2549" y="1532"/>
                  </a:lnTo>
                  <a:lnTo>
                    <a:pt x="2542" y="1524"/>
                  </a:lnTo>
                  <a:lnTo>
                    <a:pt x="2535" y="1514"/>
                  </a:lnTo>
                  <a:lnTo>
                    <a:pt x="2528" y="1504"/>
                  </a:lnTo>
                  <a:lnTo>
                    <a:pt x="2526" y="1498"/>
                  </a:lnTo>
                  <a:lnTo>
                    <a:pt x="2524" y="1493"/>
                  </a:lnTo>
                  <a:lnTo>
                    <a:pt x="2519" y="1482"/>
                  </a:lnTo>
                  <a:lnTo>
                    <a:pt x="2516" y="1468"/>
                  </a:lnTo>
                  <a:lnTo>
                    <a:pt x="2515" y="1462"/>
                  </a:lnTo>
                  <a:lnTo>
                    <a:pt x="2515" y="1455"/>
                  </a:lnTo>
                  <a:lnTo>
                    <a:pt x="2514" y="1442"/>
                  </a:lnTo>
                  <a:lnTo>
                    <a:pt x="2515" y="1427"/>
                  </a:lnTo>
                  <a:lnTo>
                    <a:pt x="2516" y="1415"/>
                  </a:lnTo>
                  <a:lnTo>
                    <a:pt x="2518" y="1408"/>
                  </a:lnTo>
                  <a:lnTo>
                    <a:pt x="2519" y="1402"/>
                  </a:lnTo>
                  <a:lnTo>
                    <a:pt x="2524" y="1391"/>
                  </a:lnTo>
                  <a:lnTo>
                    <a:pt x="2526" y="1385"/>
                  </a:lnTo>
                  <a:lnTo>
                    <a:pt x="2528" y="1379"/>
                  </a:lnTo>
                  <a:lnTo>
                    <a:pt x="2535" y="1369"/>
                  </a:lnTo>
                  <a:lnTo>
                    <a:pt x="2542" y="1359"/>
                  </a:lnTo>
                  <a:lnTo>
                    <a:pt x="2549" y="1351"/>
                  </a:lnTo>
                  <a:lnTo>
                    <a:pt x="2554" y="1347"/>
                  </a:lnTo>
                  <a:lnTo>
                    <a:pt x="2558" y="1344"/>
                  </a:lnTo>
                  <a:lnTo>
                    <a:pt x="2563" y="1341"/>
                  </a:lnTo>
                  <a:lnTo>
                    <a:pt x="2567" y="1337"/>
                  </a:lnTo>
                  <a:lnTo>
                    <a:pt x="2577" y="1331"/>
                  </a:lnTo>
                  <a:lnTo>
                    <a:pt x="2588" y="1326"/>
                  </a:lnTo>
                  <a:lnTo>
                    <a:pt x="2599" y="1323"/>
                  </a:lnTo>
                  <a:lnTo>
                    <a:pt x="2611" y="1319"/>
                  </a:lnTo>
                  <a:lnTo>
                    <a:pt x="2617" y="1318"/>
                  </a:lnTo>
                  <a:lnTo>
                    <a:pt x="2623" y="1318"/>
                  </a:lnTo>
                  <a:lnTo>
                    <a:pt x="2636" y="1317"/>
                  </a:lnTo>
                  <a:lnTo>
                    <a:pt x="2649" y="1318"/>
                  </a:lnTo>
                  <a:lnTo>
                    <a:pt x="2662" y="1319"/>
                  </a:lnTo>
                  <a:lnTo>
                    <a:pt x="2674" y="1323"/>
                  </a:lnTo>
                  <a:lnTo>
                    <a:pt x="2679" y="1324"/>
                  </a:lnTo>
                  <a:lnTo>
                    <a:pt x="2685" y="1326"/>
                  </a:lnTo>
                  <a:lnTo>
                    <a:pt x="2696" y="1331"/>
                  </a:lnTo>
                  <a:lnTo>
                    <a:pt x="2701" y="1334"/>
                  </a:lnTo>
                  <a:lnTo>
                    <a:pt x="2706" y="1337"/>
                  </a:lnTo>
                  <a:lnTo>
                    <a:pt x="2711" y="1341"/>
                  </a:lnTo>
                  <a:lnTo>
                    <a:pt x="2715" y="1344"/>
                  </a:lnTo>
                  <a:lnTo>
                    <a:pt x="2724" y="1351"/>
                  </a:lnTo>
                  <a:lnTo>
                    <a:pt x="2732" y="1359"/>
                  </a:lnTo>
                  <a:lnTo>
                    <a:pt x="2738" y="1369"/>
                  </a:lnTo>
                  <a:lnTo>
                    <a:pt x="2745" y="1379"/>
                  </a:lnTo>
                  <a:lnTo>
                    <a:pt x="2747" y="1385"/>
                  </a:lnTo>
                  <a:lnTo>
                    <a:pt x="2749" y="1391"/>
                  </a:lnTo>
                  <a:lnTo>
                    <a:pt x="2754" y="1402"/>
                  </a:lnTo>
                  <a:lnTo>
                    <a:pt x="2756" y="1415"/>
                  </a:lnTo>
                  <a:lnTo>
                    <a:pt x="2757" y="1421"/>
                  </a:lnTo>
                  <a:lnTo>
                    <a:pt x="2758" y="1427"/>
                  </a:lnTo>
                  <a:lnTo>
                    <a:pt x="2759" y="1442"/>
                  </a:lnTo>
                  <a:lnTo>
                    <a:pt x="2758" y="1455"/>
                  </a:lnTo>
                  <a:lnTo>
                    <a:pt x="2756" y="1468"/>
                  </a:lnTo>
                  <a:lnTo>
                    <a:pt x="2755" y="1475"/>
                  </a:lnTo>
                  <a:lnTo>
                    <a:pt x="2754" y="1482"/>
                  </a:lnTo>
                  <a:lnTo>
                    <a:pt x="2749" y="1493"/>
                  </a:lnTo>
                  <a:lnTo>
                    <a:pt x="2747" y="1498"/>
                  </a:lnTo>
                  <a:lnTo>
                    <a:pt x="2745" y="1504"/>
                  </a:lnTo>
                  <a:lnTo>
                    <a:pt x="2738" y="1514"/>
                  </a:lnTo>
                  <a:lnTo>
                    <a:pt x="2732" y="1524"/>
                  </a:lnTo>
                  <a:lnTo>
                    <a:pt x="2724" y="1532"/>
                  </a:lnTo>
                  <a:lnTo>
                    <a:pt x="2719" y="1536"/>
                  </a:lnTo>
                  <a:lnTo>
                    <a:pt x="2715" y="1539"/>
                  </a:lnTo>
                  <a:lnTo>
                    <a:pt x="2711" y="1543"/>
                  </a:lnTo>
                  <a:lnTo>
                    <a:pt x="2706" y="1546"/>
                  </a:lnTo>
                  <a:lnTo>
                    <a:pt x="2696" y="1552"/>
                  </a:lnTo>
                  <a:lnTo>
                    <a:pt x="2685" y="1557"/>
                  </a:lnTo>
                  <a:lnTo>
                    <a:pt x="2674" y="1560"/>
                  </a:lnTo>
                  <a:lnTo>
                    <a:pt x="2662" y="1564"/>
                  </a:lnTo>
                  <a:lnTo>
                    <a:pt x="2649" y="1565"/>
                  </a:lnTo>
                  <a:lnTo>
                    <a:pt x="2636" y="1566"/>
                  </a:lnTo>
                  <a:close/>
                  <a:moveTo>
                    <a:pt x="3254" y="1160"/>
                  </a:moveTo>
                  <a:lnTo>
                    <a:pt x="3239" y="1161"/>
                  </a:lnTo>
                  <a:lnTo>
                    <a:pt x="3224" y="1162"/>
                  </a:lnTo>
                  <a:lnTo>
                    <a:pt x="3209" y="1163"/>
                  </a:lnTo>
                  <a:lnTo>
                    <a:pt x="3195" y="1165"/>
                  </a:lnTo>
                  <a:lnTo>
                    <a:pt x="3181" y="1167"/>
                  </a:lnTo>
                  <a:lnTo>
                    <a:pt x="3167" y="1171"/>
                  </a:lnTo>
                  <a:lnTo>
                    <a:pt x="3154" y="1175"/>
                  </a:lnTo>
                  <a:lnTo>
                    <a:pt x="3141" y="1179"/>
                  </a:lnTo>
                  <a:lnTo>
                    <a:pt x="3129" y="1184"/>
                  </a:lnTo>
                  <a:lnTo>
                    <a:pt x="3117" y="1189"/>
                  </a:lnTo>
                  <a:lnTo>
                    <a:pt x="3105" y="1196"/>
                  </a:lnTo>
                  <a:lnTo>
                    <a:pt x="3094" y="1203"/>
                  </a:lnTo>
                  <a:lnTo>
                    <a:pt x="3083" y="1209"/>
                  </a:lnTo>
                  <a:lnTo>
                    <a:pt x="3073" y="1217"/>
                  </a:lnTo>
                  <a:lnTo>
                    <a:pt x="3063" y="1226"/>
                  </a:lnTo>
                  <a:lnTo>
                    <a:pt x="3053" y="1235"/>
                  </a:lnTo>
                  <a:lnTo>
                    <a:pt x="3044" y="1244"/>
                  </a:lnTo>
                  <a:lnTo>
                    <a:pt x="3035" y="1254"/>
                  </a:lnTo>
                  <a:lnTo>
                    <a:pt x="3027" y="1264"/>
                  </a:lnTo>
                  <a:lnTo>
                    <a:pt x="3019" y="1275"/>
                  </a:lnTo>
                  <a:lnTo>
                    <a:pt x="3013" y="1287"/>
                  </a:lnTo>
                  <a:lnTo>
                    <a:pt x="3006" y="1298"/>
                  </a:lnTo>
                  <a:lnTo>
                    <a:pt x="3003" y="1305"/>
                  </a:lnTo>
                  <a:lnTo>
                    <a:pt x="2999" y="1311"/>
                  </a:lnTo>
                  <a:lnTo>
                    <a:pt x="2995" y="1324"/>
                  </a:lnTo>
                  <a:lnTo>
                    <a:pt x="2989" y="1337"/>
                  </a:lnTo>
                  <a:lnTo>
                    <a:pt x="2986" y="1352"/>
                  </a:lnTo>
                  <a:lnTo>
                    <a:pt x="2982" y="1365"/>
                  </a:lnTo>
                  <a:lnTo>
                    <a:pt x="2979" y="1381"/>
                  </a:lnTo>
                  <a:lnTo>
                    <a:pt x="2977" y="1395"/>
                  </a:lnTo>
                  <a:lnTo>
                    <a:pt x="2975" y="1412"/>
                  </a:lnTo>
                  <a:lnTo>
                    <a:pt x="2974" y="1427"/>
                  </a:lnTo>
                  <a:lnTo>
                    <a:pt x="2974" y="1444"/>
                  </a:lnTo>
                  <a:lnTo>
                    <a:pt x="2974" y="1459"/>
                  </a:lnTo>
                  <a:lnTo>
                    <a:pt x="2975" y="1475"/>
                  </a:lnTo>
                  <a:lnTo>
                    <a:pt x="2977" y="1489"/>
                  </a:lnTo>
                  <a:lnTo>
                    <a:pt x="2979" y="1505"/>
                  </a:lnTo>
                  <a:lnTo>
                    <a:pt x="2982" y="1518"/>
                  </a:lnTo>
                  <a:lnTo>
                    <a:pt x="2986" y="1533"/>
                  </a:lnTo>
                  <a:lnTo>
                    <a:pt x="2990" y="1546"/>
                  </a:lnTo>
                  <a:lnTo>
                    <a:pt x="2993" y="1553"/>
                  </a:lnTo>
                  <a:lnTo>
                    <a:pt x="2995" y="1559"/>
                  </a:lnTo>
                  <a:lnTo>
                    <a:pt x="3000" y="1572"/>
                  </a:lnTo>
                  <a:lnTo>
                    <a:pt x="3006" y="1584"/>
                  </a:lnTo>
                  <a:lnTo>
                    <a:pt x="3013" y="1596"/>
                  </a:lnTo>
                  <a:lnTo>
                    <a:pt x="3020" y="1607"/>
                  </a:lnTo>
                  <a:lnTo>
                    <a:pt x="3028" y="1617"/>
                  </a:lnTo>
                  <a:lnTo>
                    <a:pt x="3037" y="1628"/>
                  </a:lnTo>
                  <a:lnTo>
                    <a:pt x="3046" y="1638"/>
                  </a:lnTo>
                  <a:lnTo>
                    <a:pt x="3055" y="1647"/>
                  </a:lnTo>
                  <a:lnTo>
                    <a:pt x="3065" y="1656"/>
                  </a:lnTo>
                  <a:lnTo>
                    <a:pt x="3076" y="1665"/>
                  </a:lnTo>
                  <a:lnTo>
                    <a:pt x="3086" y="1673"/>
                  </a:lnTo>
                  <a:lnTo>
                    <a:pt x="3098" y="1680"/>
                  </a:lnTo>
                  <a:lnTo>
                    <a:pt x="3110" y="1687"/>
                  </a:lnTo>
                  <a:lnTo>
                    <a:pt x="3123" y="1693"/>
                  </a:lnTo>
                  <a:lnTo>
                    <a:pt x="3135" y="1699"/>
                  </a:lnTo>
                  <a:lnTo>
                    <a:pt x="3148" y="1704"/>
                  </a:lnTo>
                  <a:lnTo>
                    <a:pt x="3163" y="1709"/>
                  </a:lnTo>
                  <a:lnTo>
                    <a:pt x="3177" y="1713"/>
                  </a:lnTo>
                  <a:lnTo>
                    <a:pt x="3191" y="1716"/>
                  </a:lnTo>
                  <a:lnTo>
                    <a:pt x="3206" y="1719"/>
                  </a:lnTo>
                  <a:lnTo>
                    <a:pt x="3221" y="1722"/>
                  </a:lnTo>
                  <a:lnTo>
                    <a:pt x="3237" y="1723"/>
                  </a:lnTo>
                  <a:lnTo>
                    <a:pt x="3254" y="1724"/>
                  </a:lnTo>
                  <a:lnTo>
                    <a:pt x="3270" y="1724"/>
                  </a:lnTo>
                  <a:lnTo>
                    <a:pt x="3287" y="1724"/>
                  </a:lnTo>
                  <a:lnTo>
                    <a:pt x="3304" y="1723"/>
                  </a:lnTo>
                  <a:lnTo>
                    <a:pt x="3319" y="1722"/>
                  </a:lnTo>
                  <a:lnTo>
                    <a:pt x="3335" y="1719"/>
                  </a:lnTo>
                  <a:lnTo>
                    <a:pt x="3350" y="1717"/>
                  </a:lnTo>
                  <a:lnTo>
                    <a:pt x="3365" y="1714"/>
                  </a:lnTo>
                  <a:lnTo>
                    <a:pt x="3379" y="1710"/>
                  </a:lnTo>
                  <a:lnTo>
                    <a:pt x="3393" y="1706"/>
                  </a:lnTo>
                  <a:lnTo>
                    <a:pt x="3406" y="1702"/>
                  </a:lnTo>
                  <a:lnTo>
                    <a:pt x="3419" y="1697"/>
                  </a:lnTo>
                  <a:lnTo>
                    <a:pt x="3445" y="1686"/>
                  </a:lnTo>
                  <a:lnTo>
                    <a:pt x="3456" y="1680"/>
                  </a:lnTo>
                  <a:lnTo>
                    <a:pt x="3468" y="1675"/>
                  </a:lnTo>
                  <a:lnTo>
                    <a:pt x="3489" y="1663"/>
                  </a:lnTo>
                  <a:lnTo>
                    <a:pt x="3426" y="1532"/>
                  </a:lnTo>
                  <a:lnTo>
                    <a:pt x="3413" y="1539"/>
                  </a:lnTo>
                  <a:lnTo>
                    <a:pt x="3397" y="1548"/>
                  </a:lnTo>
                  <a:lnTo>
                    <a:pt x="3380" y="1556"/>
                  </a:lnTo>
                  <a:lnTo>
                    <a:pt x="3361" y="1564"/>
                  </a:lnTo>
                  <a:lnTo>
                    <a:pt x="3340" y="1570"/>
                  </a:lnTo>
                  <a:lnTo>
                    <a:pt x="3330" y="1573"/>
                  </a:lnTo>
                  <a:lnTo>
                    <a:pt x="3319" y="1575"/>
                  </a:lnTo>
                  <a:lnTo>
                    <a:pt x="3308" y="1577"/>
                  </a:lnTo>
                  <a:lnTo>
                    <a:pt x="3296" y="1578"/>
                  </a:lnTo>
                  <a:lnTo>
                    <a:pt x="3285" y="1579"/>
                  </a:lnTo>
                  <a:lnTo>
                    <a:pt x="3273" y="1579"/>
                  </a:lnTo>
                  <a:lnTo>
                    <a:pt x="3259" y="1579"/>
                  </a:lnTo>
                  <a:lnTo>
                    <a:pt x="3247" y="1578"/>
                  </a:lnTo>
                  <a:lnTo>
                    <a:pt x="3235" y="1576"/>
                  </a:lnTo>
                  <a:lnTo>
                    <a:pt x="3223" y="1574"/>
                  </a:lnTo>
                  <a:lnTo>
                    <a:pt x="3217" y="1573"/>
                  </a:lnTo>
                  <a:lnTo>
                    <a:pt x="3211" y="1570"/>
                  </a:lnTo>
                  <a:lnTo>
                    <a:pt x="3201" y="1566"/>
                  </a:lnTo>
                  <a:lnTo>
                    <a:pt x="3191" y="1562"/>
                  </a:lnTo>
                  <a:lnTo>
                    <a:pt x="3183" y="1556"/>
                  </a:lnTo>
                  <a:lnTo>
                    <a:pt x="3174" y="1549"/>
                  </a:lnTo>
                  <a:lnTo>
                    <a:pt x="3166" y="1543"/>
                  </a:lnTo>
                  <a:lnTo>
                    <a:pt x="3159" y="1535"/>
                  </a:lnTo>
                  <a:lnTo>
                    <a:pt x="3153" y="1526"/>
                  </a:lnTo>
                  <a:lnTo>
                    <a:pt x="3147" y="1516"/>
                  </a:lnTo>
                  <a:lnTo>
                    <a:pt x="3143" y="1506"/>
                  </a:lnTo>
                  <a:lnTo>
                    <a:pt x="3139" y="1495"/>
                  </a:lnTo>
                  <a:lnTo>
                    <a:pt x="3138" y="1489"/>
                  </a:lnTo>
                  <a:lnTo>
                    <a:pt x="3137" y="1483"/>
                  </a:lnTo>
                  <a:lnTo>
                    <a:pt x="3517" y="1483"/>
                  </a:lnTo>
                  <a:lnTo>
                    <a:pt x="3517" y="1444"/>
                  </a:lnTo>
                  <a:lnTo>
                    <a:pt x="3517" y="1426"/>
                  </a:lnTo>
                  <a:lnTo>
                    <a:pt x="3516" y="1409"/>
                  </a:lnTo>
                  <a:lnTo>
                    <a:pt x="3515" y="1393"/>
                  </a:lnTo>
                  <a:lnTo>
                    <a:pt x="3512" y="1376"/>
                  </a:lnTo>
                  <a:lnTo>
                    <a:pt x="3509" y="1362"/>
                  </a:lnTo>
                  <a:lnTo>
                    <a:pt x="3508" y="1354"/>
                  </a:lnTo>
                  <a:lnTo>
                    <a:pt x="3507" y="1346"/>
                  </a:lnTo>
                  <a:lnTo>
                    <a:pt x="3502" y="1332"/>
                  </a:lnTo>
                  <a:lnTo>
                    <a:pt x="3498" y="1318"/>
                  </a:lnTo>
                  <a:lnTo>
                    <a:pt x="3494" y="1305"/>
                  </a:lnTo>
                  <a:lnTo>
                    <a:pt x="3488" y="1293"/>
                  </a:lnTo>
                  <a:lnTo>
                    <a:pt x="3483" y="1281"/>
                  </a:lnTo>
                  <a:lnTo>
                    <a:pt x="3476" y="1269"/>
                  </a:lnTo>
                  <a:lnTo>
                    <a:pt x="3469" y="1259"/>
                  </a:lnTo>
                  <a:lnTo>
                    <a:pt x="3461" y="1248"/>
                  </a:lnTo>
                  <a:lnTo>
                    <a:pt x="3454" y="1239"/>
                  </a:lnTo>
                  <a:lnTo>
                    <a:pt x="3446" y="1229"/>
                  </a:lnTo>
                  <a:lnTo>
                    <a:pt x="3437" y="1222"/>
                  </a:lnTo>
                  <a:lnTo>
                    <a:pt x="3427" y="1214"/>
                  </a:lnTo>
                  <a:lnTo>
                    <a:pt x="3418" y="1206"/>
                  </a:lnTo>
                  <a:lnTo>
                    <a:pt x="3407" y="1199"/>
                  </a:lnTo>
                  <a:lnTo>
                    <a:pt x="3397" y="1193"/>
                  </a:lnTo>
                  <a:lnTo>
                    <a:pt x="3386" y="1187"/>
                  </a:lnTo>
                  <a:lnTo>
                    <a:pt x="3375" y="1182"/>
                  </a:lnTo>
                  <a:lnTo>
                    <a:pt x="3363" y="1177"/>
                  </a:lnTo>
                  <a:lnTo>
                    <a:pt x="3350" y="1173"/>
                  </a:lnTo>
                  <a:lnTo>
                    <a:pt x="3337" y="1169"/>
                  </a:lnTo>
                  <a:lnTo>
                    <a:pt x="3325" y="1167"/>
                  </a:lnTo>
                  <a:lnTo>
                    <a:pt x="3311" y="1164"/>
                  </a:lnTo>
                  <a:lnTo>
                    <a:pt x="3297" y="1163"/>
                  </a:lnTo>
                  <a:lnTo>
                    <a:pt x="3284" y="1161"/>
                  </a:lnTo>
                  <a:lnTo>
                    <a:pt x="3269" y="1161"/>
                  </a:lnTo>
                  <a:lnTo>
                    <a:pt x="3254" y="1160"/>
                  </a:lnTo>
                  <a:close/>
                  <a:moveTo>
                    <a:pt x="3248" y="1283"/>
                  </a:moveTo>
                  <a:lnTo>
                    <a:pt x="3258" y="1284"/>
                  </a:lnTo>
                  <a:lnTo>
                    <a:pt x="3268" y="1285"/>
                  </a:lnTo>
                  <a:lnTo>
                    <a:pt x="3278" y="1287"/>
                  </a:lnTo>
                  <a:lnTo>
                    <a:pt x="3287" y="1289"/>
                  </a:lnTo>
                  <a:lnTo>
                    <a:pt x="3296" y="1293"/>
                  </a:lnTo>
                  <a:lnTo>
                    <a:pt x="3305" y="1297"/>
                  </a:lnTo>
                  <a:lnTo>
                    <a:pt x="3311" y="1303"/>
                  </a:lnTo>
                  <a:lnTo>
                    <a:pt x="3319" y="1308"/>
                  </a:lnTo>
                  <a:lnTo>
                    <a:pt x="3323" y="1312"/>
                  </a:lnTo>
                  <a:lnTo>
                    <a:pt x="3326" y="1315"/>
                  </a:lnTo>
                  <a:lnTo>
                    <a:pt x="3331" y="1323"/>
                  </a:lnTo>
                  <a:lnTo>
                    <a:pt x="3336" y="1331"/>
                  </a:lnTo>
                  <a:lnTo>
                    <a:pt x="3340" y="1339"/>
                  </a:lnTo>
                  <a:lnTo>
                    <a:pt x="3344" y="1348"/>
                  </a:lnTo>
                  <a:lnTo>
                    <a:pt x="3347" y="1358"/>
                  </a:lnTo>
                  <a:lnTo>
                    <a:pt x="3348" y="1364"/>
                  </a:lnTo>
                  <a:lnTo>
                    <a:pt x="3348" y="1369"/>
                  </a:lnTo>
                  <a:lnTo>
                    <a:pt x="3349" y="1375"/>
                  </a:lnTo>
                  <a:lnTo>
                    <a:pt x="3349" y="1381"/>
                  </a:lnTo>
                  <a:lnTo>
                    <a:pt x="3138" y="1381"/>
                  </a:lnTo>
                  <a:lnTo>
                    <a:pt x="3139" y="1368"/>
                  </a:lnTo>
                  <a:lnTo>
                    <a:pt x="3143" y="1357"/>
                  </a:lnTo>
                  <a:lnTo>
                    <a:pt x="3146" y="1346"/>
                  </a:lnTo>
                  <a:lnTo>
                    <a:pt x="3150" y="1336"/>
                  </a:lnTo>
                  <a:lnTo>
                    <a:pt x="3153" y="1332"/>
                  </a:lnTo>
                  <a:lnTo>
                    <a:pt x="3155" y="1327"/>
                  </a:lnTo>
                  <a:lnTo>
                    <a:pt x="3160" y="1319"/>
                  </a:lnTo>
                  <a:lnTo>
                    <a:pt x="3167" y="1313"/>
                  </a:lnTo>
                  <a:lnTo>
                    <a:pt x="3174" y="1306"/>
                  </a:lnTo>
                  <a:lnTo>
                    <a:pt x="3181" y="1301"/>
                  </a:lnTo>
                  <a:lnTo>
                    <a:pt x="3189" y="1296"/>
                  </a:lnTo>
                  <a:lnTo>
                    <a:pt x="3198" y="1292"/>
                  </a:lnTo>
                  <a:lnTo>
                    <a:pt x="3207" y="1288"/>
                  </a:lnTo>
                  <a:lnTo>
                    <a:pt x="3217" y="1286"/>
                  </a:lnTo>
                  <a:lnTo>
                    <a:pt x="3227" y="1284"/>
                  </a:lnTo>
                  <a:lnTo>
                    <a:pt x="3237" y="1283"/>
                  </a:lnTo>
                  <a:lnTo>
                    <a:pt x="3248" y="1283"/>
                  </a:lnTo>
                  <a:close/>
                  <a:moveTo>
                    <a:pt x="292" y="601"/>
                  </a:moveTo>
                  <a:lnTo>
                    <a:pt x="292" y="614"/>
                  </a:lnTo>
                  <a:lnTo>
                    <a:pt x="292" y="626"/>
                  </a:lnTo>
                  <a:lnTo>
                    <a:pt x="290" y="651"/>
                  </a:lnTo>
                  <a:lnTo>
                    <a:pt x="288" y="662"/>
                  </a:lnTo>
                  <a:lnTo>
                    <a:pt x="286" y="672"/>
                  </a:lnTo>
                  <a:lnTo>
                    <a:pt x="283" y="683"/>
                  </a:lnTo>
                  <a:lnTo>
                    <a:pt x="280" y="693"/>
                  </a:lnTo>
                  <a:lnTo>
                    <a:pt x="277" y="702"/>
                  </a:lnTo>
                  <a:lnTo>
                    <a:pt x="273" y="712"/>
                  </a:lnTo>
                  <a:lnTo>
                    <a:pt x="269" y="721"/>
                  </a:lnTo>
                  <a:lnTo>
                    <a:pt x="265" y="729"/>
                  </a:lnTo>
                  <a:lnTo>
                    <a:pt x="259" y="736"/>
                  </a:lnTo>
                  <a:lnTo>
                    <a:pt x="253" y="744"/>
                  </a:lnTo>
                  <a:lnTo>
                    <a:pt x="248" y="751"/>
                  </a:lnTo>
                  <a:lnTo>
                    <a:pt x="242" y="757"/>
                  </a:lnTo>
                  <a:lnTo>
                    <a:pt x="236" y="763"/>
                  </a:lnTo>
                  <a:lnTo>
                    <a:pt x="228" y="770"/>
                  </a:lnTo>
                  <a:lnTo>
                    <a:pt x="221" y="774"/>
                  </a:lnTo>
                  <a:lnTo>
                    <a:pt x="213" y="780"/>
                  </a:lnTo>
                  <a:lnTo>
                    <a:pt x="205" y="784"/>
                  </a:lnTo>
                  <a:lnTo>
                    <a:pt x="196" y="789"/>
                  </a:lnTo>
                  <a:lnTo>
                    <a:pt x="187" y="792"/>
                  </a:lnTo>
                  <a:lnTo>
                    <a:pt x="178" y="795"/>
                  </a:lnTo>
                  <a:lnTo>
                    <a:pt x="168" y="797"/>
                  </a:lnTo>
                  <a:lnTo>
                    <a:pt x="157" y="801"/>
                  </a:lnTo>
                  <a:lnTo>
                    <a:pt x="147" y="803"/>
                  </a:lnTo>
                  <a:lnTo>
                    <a:pt x="136" y="804"/>
                  </a:lnTo>
                  <a:lnTo>
                    <a:pt x="123" y="805"/>
                  </a:lnTo>
                  <a:lnTo>
                    <a:pt x="111" y="806"/>
                  </a:lnTo>
                  <a:lnTo>
                    <a:pt x="99" y="807"/>
                  </a:lnTo>
                  <a:lnTo>
                    <a:pt x="86" y="807"/>
                  </a:lnTo>
                  <a:lnTo>
                    <a:pt x="29" y="807"/>
                  </a:lnTo>
                  <a:lnTo>
                    <a:pt x="29" y="641"/>
                  </a:lnTo>
                  <a:lnTo>
                    <a:pt x="68" y="641"/>
                  </a:lnTo>
                  <a:lnTo>
                    <a:pt x="78" y="640"/>
                  </a:lnTo>
                  <a:lnTo>
                    <a:pt x="82" y="639"/>
                  </a:lnTo>
                  <a:lnTo>
                    <a:pt x="87" y="637"/>
                  </a:lnTo>
                  <a:lnTo>
                    <a:pt x="91" y="635"/>
                  </a:lnTo>
                  <a:lnTo>
                    <a:pt x="96" y="633"/>
                  </a:lnTo>
                  <a:lnTo>
                    <a:pt x="99" y="630"/>
                  </a:lnTo>
                  <a:lnTo>
                    <a:pt x="102" y="626"/>
                  </a:lnTo>
                  <a:lnTo>
                    <a:pt x="108" y="619"/>
                  </a:lnTo>
                  <a:lnTo>
                    <a:pt x="110" y="614"/>
                  </a:lnTo>
                  <a:lnTo>
                    <a:pt x="111" y="610"/>
                  </a:lnTo>
                  <a:lnTo>
                    <a:pt x="112" y="604"/>
                  </a:lnTo>
                  <a:lnTo>
                    <a:pt x="113" y="597"/>
                  </a:lnTo>
                  <a:lnTo>
                    <a:pt x="115" y="591"/>
                  </a:lnTo>
                  <a:lnTo>
                    <a:pt x="115" y="584"/>
                  </a:lnTo>
                  <a:lnTo>
                    <a:pt x="115" y="0"/>
                  </a:lnTo>
                  <a:lnTo>
                    <a:pt x="292" y="0"/>
                  </a:lnTo>
                  <a:lnTo>
                    <a:pt x="292" y="601"/>
                  </a:lnTo>
                  <a:close/>
                  <a:moveTo>
                    <a:pt x="929" y="539"/>
                  </a:moveTo>
                  <a:lnTo>
                    <a:pt x="929" y="554"/>
                  </a:lnTo>
                  <a:lnTo>
                    <a:pt x="928" y="570"/>
                  </a:lnTo>
                  <a:lnTo>
                    <a:pt x="925" y="584"/>
                  </a:lnTo>
                  <a:lnTo>
                    <a:pt x="923" y="600"/>
                  </a:lnTo>
                  <a:lnTo>
                    <a:pt x="920" y="614"/>
                  </a:lnTo>
                  <a:lnTo>
                    <a:pt x="917" y="627"/>
                  </a:lnTo>
                  <a:lnTo>
                    <a:pt x="912" y="641"/>
                  </a:lnTo>
                  <a:lnTo>
                    <a:pt x="907" y="654"/>
                  </a:lnTo>
                  <a:lnTo>
                    <a:pt x="901" y="667"/>
                  </a:lnTo>
                  <a:lnTo>
                    <a:pt x="894" y="680"/>
                  </a:lnTo>
                  <a:lnTo>
                    <a:pt x="888" y="691"/>
                  </a:lnTo>
                  <a:lnTo>
                    <a:pt x="880" y="703"/>
                  </a:lnTo>
                  <a:lnTo>
                    <a:pt x="872" y="713"/>
                  </a:lnTo>
                  <a:lnTo>
                    <a:pt x="863" y="724"/>
                  </a:lnTo>
                  <a:lnTo>
                    <a:pt x="854" y="734"/>
                  </a:lnTo>
                  <a:lnTo>
                    <a:pt x="844" y="743"/>
                  </a:lnTo>
                  <a:lnTo>
                    <a:pt x="834" y="753"/>
                  </a:lnTo>
                  <a:lnTo>
                    <a:pt x="823" y="761"/>
                  </a:lnTo>
                  <a:lnTo>
                    <a:pt x="812" y="769"/>
                  </a:lnTo>
                  <a:lnTo>
                    <a:pt x="800" y="776"/>
                  </a:lnTo>
                  <a:lnTo>
                    <a:pt x="789" y="783"/>
                  </a:lnTo>
                  <a:lnTo>
                    <a:pt x="776" y="790"/>
                  </a:lnTo>
                  <a:lnTo>
                    <a:pt x="763" y="795"/>
                  </a:lnTo>
                  <a:lnTo>
                    <a:pt x="750" y="801"/>
                  </a:lnTo>
                  <a:lnTo>
                    <a:pt x="736" y="805"/>
                  </a:lnTo>
                  <a:lnTo>
                    <a:pt x="722" y="810"/>
                  </a:lnTo>
                  <a:lnTo>
                    <a:pt x="708" y="813"/>
                  </a:lnTo>
                  <a:lnTo>
                    <a:pt x="692" y="816"/>
                  </a:lnTo>
                  <a:lnTo>
                    <a:pt x="678" y="819"/>
                  </a:lnTo>
                  <a:lnTo>
                    <a:pt x="662" y="820"/>
                  </a:lnTo>
                  <a:lnTo>
                    <a:pt x="647" y="821"/>
                  </a:lnTo>
                  <a:lnTo>
                    <a:pt x="630" y="821"/>
                  </a:lnTo>
                  <a:lnTo>
                    <a:pt x="614" y="821"/>
                  </a:lnTo>
                  <a:lnTo>
                    <a:pt x="599" y="820"/>
                  </a:lnTo>
                  <a:lnTo>
                    <a:pt x="583" y="819"/>
                  </a:lnTo>
                  <a:lnTo>
                    <a:pt x="568" y="816"/>
                  </a:lnTo>
                  <a:lnTo>
                    <a:pt x="553" y="813"/>
                  </a:lnTo>
                  <a:lnTo>
                    <a:pt x="539" y="810"/>
                  </a:lnTo>
                  <a:lnTo>
                    <a:pt x="526" y="805"/>
                  </a:lnTo>
                  <a:lnTo>
                    <a:pt x="511" y="801"/>
                  </a:lnTo>
                  <a:lnTo>
                    <a:pt x="498" y="795"/>
                  </a:lnTo>
                  <a:lnTo>
                    <a:pt x="486" y="790"/>
                  </a:lnTo>
                  <a:lnTo>
                    <a:pt x="473" y="783"/>
                  </a:lnTo>
                  <a:lnTo>
                    <a:pt x="461" y="776"/>
                  </a:lnTo>
                  <a:lnTo>
                    <a:pt x="449" y="769"/>
                  </a:lnTo>
                  <a:lnTo>
                    <a:pt x="438" y="761"/>
                  </a:lnTo>
                  <a:lnTo>
                    <a:pt x="428" y="753"/>
                  </a:lnTo>
                  <a:lnTo>
                    <a:pt x="417" y="743"/>
                  </a:lnTo>
                  <a:lnTo>
                    <a:pt x="408" y="734"/>
                  </a:lnTo>
                  <a:lnTo>
                    <a:pt x="398" y="724"/>
                  </a:lnTo>
                  <a:lnTo>
                    <a:pt x="390" y="713"/>
                  </a:lnTo>
                  <a:lnTo>
                    <a:pt x="381" y="703"/>
                  </a:lnTo>
                  <a:lnTo>
                    <a:pt x="375" y="691"/>
                  </a:lnTo>
                  <a:lnTo>
                    <a:pt x="367" y="680"/>
                  </a:lnTo>
                  <a:lnTo>
                    <a:pt x="361" y="667"/>
                  </a:lnTo>
                  <a:lnTo>
                    <a:pt x="355" y="654"/>
                  </a:lnTo>
                  <a:lnTo>
                    <a:pt x="350" y="641"/>
                  </a:lnTo>
                  <a:lnTo>
                    <a:pt x="346" y="627"/>
                  </a:lnTo>
                  <a:lnTo>
                    <a:pt x="341" y="614"/>
                  </a:lnTo>
                  <a:lnTo>
                    <a:pt x="338" y="600"/>
                  </a:lnTo>
                  <a:lnTo>
                    <a:pt x="336" y="584"/>
                  </a:lnTo>
                  <a:lnTo>
                    <a:pt x="335" y="570"/>
                  </a:lnTo>
                  <a:lnTo>
                    <a:pt x="333" y="554"/>
                  </a:lnTo>
                  <a:lnTo>
                    <a:pt x="332" y="539"/>
                  </a:lnTo>
                  <a:lnTo>
                    <a:pt x="333" y="523"/>
                  </a:lnTo>
                  <a:lnTo>
                    <a:pt x="335" y="508"/>
                  </a:lnTo>
                  <a:lnTo>
                    <a:pt x="336" y="492"/>
                  </a:lnTo>
                  <a:lnTo>
                    <a:pt x="338" y="478"/>
                  </a:lnTo>
                  <a:lnTo>
                    <a:pt x="341" y="463"/>
                  </a:lnTo>
                  <a:lnTo>
                    <a:pt x="346" y="449"/>
                  </a:lnTo>
                  <a:lnTo>
                    <a:pt x="350" y="435"/>
                  </a:lnTo>
                  <a:lnTo>
                    <a:pt x="355" y="422"/>
                  </a:lnTo>
                  <a:lnTo>
                    <a:pt x="361" y="410"/>
                  </a:lnTo>
                  <a:lnTo>
                    <a:pt x="367" y="398"/>
                  </a:lnTo>
                  <a:lnTo>
                    <a:pt x="375" y="385"/>
                  </a:lnTo>
                  <a:lnTo>
                    <a:pt x="381" y="374"/>
                  </a:lnTo>
                  <a:lnTo>
                    <a:pt x="390" y="363"/>
                  </a:lnTo>
                  <a:lnTo>
                    <a:pt x="398" y="353"/>
                  </a:lnTo>
                  <a:lnTo>
                    <a:pt x="408" y="343"/>
                  </a:lnTo>
                  <a:lnTo>
                    <a:pt x="417" y="333"/>
                  </a:lnTo>
                  <a:lnTo>
                    <a:pt x="428" y="324"/>
                  </a:lnTo>
                  <a:lnTo>
                    <a:pt x="438" y="315"/>
                  </a:lnTo>
                  <a:lnTo>
                    <a:pt x="449" y="308"/>
                  </a:lnTo>
                  <a:lnTo>
                    <a:pt x="461" y="300"/>
                  </a:lnTo>
                  <a:lnTo>
                    <a:pt x="473" y="293"/>
                  </a:lnTo>
                  <a:lnTo>
                    <a:pt x="486" y="288"/>
                  </a:lnTo>
                  <a:lnTo>
                    <a:pt x="498" y="281"/>
                  </a:lnTo>
                  <a:lnTo>
                    <a:pt x="511" y="276"/>
                  </a:lnTo>
                  <a:lnTo>
                    <a:pt x="526" y="271"/>
                  </a:lnTo>
                  <a:lnTo>
                    <a:pt x="539" y="268"/>
                  </a:lnTo>
                  <a:lnTo>
                    <a:pt x="553" y="264"/>
                  </a:lnTo>
                  <a:lnTo>
                    <a:pt x="568" y="261"/>
                  </a:lnTo>
                  <a:lnTo>
                    <a:pt x="583" y="259"/>
                  </a:lnTo>
                  <a:lnTo>
                    <a:pt x="599" y="258"/>
                  </a:lnTo>
                  <a:lnTo>
                    <a:pt x="614" y="256"/>
                  </a:lnTo>
                  <a:lnTo>
                    <a:pt x="630" y="255"/>
                  </a:lnTo>
                  <a:lnTo>
                    <a:pt x="647" y="256"/>
                  </a:lnTo>
                  <a:lnTo>
                    <a:pt x="662" y="258"/>
                  </a:lnTo>
                  <a:lnTo>
                    <a:pt x="678" y="259"/>
                  </a:lnTo>
                  <a:lnTo>
                    <a:pt x="692" y="261"/>
                  </a:lnTo>
                  <a:lnTo>
                    <a:pt x="708" y="264"/>
                  </a:lnTo>
                  <a:lnTo>
                    <a:pt x="722" y="268"/>
                  </a:lnTo>
                  <a:lnTo>
                    <a:pt x="736" y="271"/>
                  </a:lnTo>
                  <a:lnTo>
                    <a:pt x="750" y="276"/>
                  </a:lnTo>
                  <a:lnTo>
                    <a:pt x="763" y="281"/>
                  </a:lnTo>
                  <a:lnTo>
                    <a:pt x="776" y="288"/>
                  </a:lnTo>
                  <a:lnTo>
                    <a:pt x="789" y="293"/>
                  </a:lnTo>
                  <a:lnTo>
                    <a:pt x="800" y="300"/>
                  </a:lnTo>
                  <a:lnTo>
                    <a:pt x="812" y="308"/>
                  </a:lnTo>
                  <a:lnTo>
                    <a:pt x="823" y="315"/>
                  </a:lnTo>
                  <a:lnTo>
                    <a:pt x="834" y="324"/>
                  </a:lnTo>
                  <a:lnTo>
                    <a:pt x="844" y="333"/>
                  </a:lnTo>
                  <a:lnTo>
                    <a:pt x="854" y="343"/>
                  </a:lnTo>
                  <a:lnTo>
                    <a:pt x="863" y="353"/>
                  </a:lnTo>
                  <a:lnTo>
                    <a:pt x="872" y="363"/>
                  </a:lnTo>
                  <a:lnTo>
                    <a:pt x="880" y="374"/>
                  </a:lnTo>
                  <a:lnTo>
                    <a:pt x="888" y="385"/>
                  </a:lnTo>
                  <a:lnTo>
                    <a:pt x="894" y="398"/>
                  </a:lnTo>
                  <a:lnTo>
                    <a:pt x="901" y="410"/>
                  </a:lnTo>
                  <a:lnTo>
                    <a:pt x="907" y="422"/>
                  </a:lnTo>
                  <a:lnTo>
                    <a:pt x="912" y="435"/>
                  </a:lnTo>
                  <a:lnTo>
                    <a:pt x="917" y="449"/>
                  </a:lnTo>
                  <a:lnTo>
                    <a:pt x="920" y="463"/>
                  </a:lnTo>
                  <a:lnTo>
                    <a:pt x="923" y="478"/>
                  </a:lnTo>
                  <a:lnTo>
                    <a:pt x="925" y="492"/>
                  </a:lnTo>
                  <a:lnTo>
                    <a:pt x="928" y="508"/>
                  </a:lnTo>
                  <a:lnTo>
                    <a:pt x="929" y="523"/>
                  </a:lnTo>
                  <a:lnTo>
                    <a:pt x="929" y="539"/>
                  </a:lnTo>
                  <a:close/>
                  <a:moveTo>
                    <a:pt x="506" y="539"/>
                  </a:moveTo>
                  <a:lnTo>
                    <a:pt x="507" y="552"/>
                  </a:lnTo>
                  <a:lnTo>
                    <a:pt x="509" y="565"/>
                  </a:lnTo>
                  <a:lnTo>
                    <a:pt x="511" y="577"/>
                  </a:lnTo>
                  <a:lnTo>
                    <a:pt x="513" y="584"/>
                  </a:lnTo>
                  <a:lnTo>
                    <a:pt x="516" y="590"/>
                  </a:lnTo>
                  <a:lnTo>
                    <a:pt x="521" y="601"/>
                  </a:lnTo>
                  <a:lnTo>
                    <a:pt x="527" y="611"/>
                  </a:lnTo>
                  <a:lnTo>
                    <a:pt x="534" y="621"/>
                  </a:lnTo>
                  <a:lnTo>
                    <a:pt x="542" y="629"/>
                  </a:lnTo>
                  <a:lnTo>
                    <a:pt x="547" y="633"/>
                  </a:lnTo>
                  <a:lnTo>
                    <a:pt x="551" y="636"/>
                  </a:lnTo>
                  <a:lnTo>
                    <a:pt x="556" y="640"/>
                  </a:lnTo>
                  <a:lnTo>
                    <a:pt x="561" y="643"/>
                  </a:lnTo>
                  <a:lnTo>
                    <a:pt x="571" y="649"/>
                  </a:lnTo>
                  <a:lnTo>
                    <a:pt x="582" y="654"/>
                  </a:lnTo>
                  <a:lnTo>
                    <a:pt x="593" y="657"/>
                  </a:lnTo>
                  <a:lnTo>
                    <a:pt x="606" y="661"/>
                  </a:lnTo>
                  <a:lnTo>
                    <a:pt x="611" y="661"/>
                  </a:lnTo>
                  <a:lnTo>
                    <a:pt x="618" y="662"/>
                  </a:lnTo>
                  <a:lnTo>
                    <a:pt x="630" y="663"/>
                  </a:lnTo>
                  <a:lnTo>
                    <a:pt x="643" y="662"/>
                  </a:lnTo>
                  <a:lnTo>
                    <a:pt x="656" y="661"/>
                  </a:lnTo>
                  <a:lnTo>
                    <a:pt x="668" y="657"/>
                  </a:lnTo>
                  <a:lnTo>
                    <a:pt x="673" y="656"/>
                  </a:lnTo>
                  <a:lnTo>
                    <a:pt x="679" y="654"/>
                  </a:lnTo>
                  <a:lnTo>
                    <a:pt x="690" y="649"/>
                  </a:lnTo>
                  <a:lnTo>
                    <a:pt x="696" y="646"/>
                  </a:lnTo>
                  <a:lnTo>
                    <a:pt x="700" y="643"/>
                  </a:lnTo>
                  <a:lnTo>
                    <a:pt x="706" y="640"/>
                  </a:lnTo>
                  <a:lnTo>
                    <a:pt x="710" y="636"/>
                  </a:lnTo>
                  <a:lnTo>
                    <a:pt x="719" y="629"/>
                  </a:lnTo>
                  <a:lnTo>
                    <a:pt x="727" y="621"/>
                  </a:lnTo>
                  <a:lnTo>
                    <a:pt x="733" y="611"/>
                  </a:lnTo>
                  <a:lnTo>
                    <a:pt x="740" y="601"/>
                  </a:lnTo>
                  <a:lnTo>
                    <a:pt x="742" y="595"/>
                  </a:lnTo>
                  <a:lnTo>
                    <a:pt x="744" y="590"/>
                  </a:lnTo>
                  <a:lnTo>
                    <a:pt x="749" y="577"/>
                  </a:lnTo>
                  <a:lnTo>
                    <a:pt x="752" y="565"/>
                  </a:lnTo>
                  <a:lnTo>
                    <a:pt x="753" y="552"/>
                  </a:lnTo>
                  <a:lnTo>
                    <a:pt x="754" y="539"/>
                  </a:lnTo>
                  <a:lnTo>
                    <a:pt x="753" y="524"/>
                  </a:lnTo>
                  <a:lnTo>
                    <a:pt x="753" y="517"/>
                  </a:lnTo>
                  <a:lnTo>
                    <a:pt x="752" y="511"/>
                  </a:lnTo>
                  <a:lnTo>
                    <a:pt x="749" y="499"/>
                  </a:lnTo>
                  <a:lnTo>
                    <a:pt x="747" y="493"/>
                  </a:lnTo>
                  <a:lnTo>
                    <a:pt x="744" y="488"/>
                  </a:lnTo>
                  <a:lnTo>
                    <a:pt x="740" y="476"/>
                  </a:lnTo>
                  <a:lnTo>
                    <a:pt x="733" y="465"/>
                  </a:lnTo>
                  <a:lnTo>
                    <a:pt x="727" y="456"/>
                  </a:lnTo>
                  <a:lnTo>
                    <a:pt x="719" y="448"/>
                  </a:lnTo>
                  <a:lnTo>
                    <a:pt x="714" y="444"/>
                  </a:lnTo>
                  <a:lnTo>
                    <a:pt x="710" y="440"/>
                  </a:lnTo>
                  <a:lnTo>
                    <a:pt x="706" y="436"/>
                  </a:lnTo>
                  <a:lnTo>
                    <a:pt x="700" y="433"/>
                  </a:lnTo>
                  <a:lnTo>
                    <a:pt x="690" y="428"/>
                  </a:lnTo>
                  <a:lnTo>
                    <a:pt x="679" y="423"/>
                  </a:lnTo>
                  <a:lnTo>
                    <a:pt x="668" y="420"/>
                  </a:lnTo>
                  <a:lnTo>
                    <a:pt x="656" y="416"/>
                  </a:lnTo>
                  <a:lnTo>
                    <a:pt x="643" y="415"/>
                  </a:lnTo>
                  <a:lnTo>
                    <a:pt x="630" y="414"/>
                  </a:lnTo>
                  <a:lnTo>
                    <a:pt x="618" y="415"/>
                  </a:lnTo>
                  <a:lnTo>
                    <a:pt x="606" y="416"/>
                  </a:lnTo>
                  <a:lnTo>
                    <a:pt x="593" y="420"/>
                  </a:lnTo>
                  <a:lnTo>
                    <a:pt x="588" y="421"/>
                  </a:lnTo>
                  <a:lnTo>
                    <a:pt x="582" y="423"/>
                  </a:lnTo>
                  <a:lnTo>
                    <a:pt x="571" y="428"/>
                  </a:lnTo>
                  <a:lnTo>
                    <a:pt x="566" y="431"/>
                  </a:lnTo>
                  <a:lnTo>
                    <a:pt x="561" y="433"/>
                  </a:lnTo>
                  <a:lnTo>
                    <a:pt x="556" y="436"/>
                  </a:lnTo>
                  <a:lnTo>
                    <a:pt x="551" y="440"/>
                  </a:lnTo>
                  <a:lnTo>
                    <a:pt x="542" y="448"/>
                  </a:lnTo>
                  <a:lnTo>
                    <a:pt x="534" y="456"/>
                  </a:lnTo>
                  <a:lnTo>
                    <a:pt x="527" y="465"/>
                  </a:lnTo>
                  <a:lnTo>
                    <a:pt x="521" y="476"/>
                  </a:lnTo>
                  <a:lnTo>
                    <a:pt x="516" y="488"/>
                  </a:lnTo>
                  <a:lnTo>
                    <a:pt x="511" y="499"/>
                  </a:lnTo>
                  <a:lnTo>
                    <a:pt x="509" y="511"/>
                  </a:lnTo>
                  <a:lnTo>
                    <a:pt x="507" y="524"/>
                  </a:lnTo>
                  <a:lnTo>
                    <a:pt x="507" y="531"/>
                  </a:lnTo>
                  <a:lnTo>
                    <a:pt x="506" y="539"/>
                  </a:lnTo>
                  <a:close/>
                  <a:moveTo>
                    <a:pt x="1145" y="175"/>
                  </a:moveTo>
                  <a:lnTo>
                    <a:pt x="959" y="175"/>
                  </a:lnTo>
                  <a:lnTo>
                    <a:pt x="959" y="1"/>
                  </a:lnTo>
                  <a:lnTo>
                    <a:pt x="1145" y="1"/>
                  </a:lnTo>
                  <a:lnTo>
                    <a:pt x="1145" y="175"/>
                  </a:lnTo>
                  <a:close/>
                  <a:moveTo>
                    <a:pt x="965" y="273"/>
                  </a:moveTo>
                  <a:lnTo>
                    <a:pt x="1139" y="273"/>
                  </a:lnTo>
                  <a:lnTo>
                    <a:pt x="1139" y="804"/>
                  </a:lnTo>
                  <a:lnTo>
                    <a:pt x="965" y="804"/>
                  </a:lnTo>
                  <a:lnTo>
                    <a:pt x="965" y="273"/>
                  </a:lnTo>
                  <a:close/>
                  <a:moveTo>
                    <a:pt x="1750" y="475"/>
                  </a:moveTo>
                  <a:lnTo>
                    <a:pt x="1750" y="804"/>
                  </a:lnTo>
                  <a:lnTo>
                    <a:pt x="1578" y="804"/>
                  </a:lnTo>
                  <a:lnTo>
                    <a:pt x="1578" y="523"/>
                  </a:lnTo>
                  <a:lnTo>
                    <a:pt x="1576" y="509"/>
                  </a:lnTo>
                  <a:lnTo>
                    <a:pt x="1575" y="495"/>
                  </a:lnTo>
                  <a:lnTo>
                    <a:pt x="1573" y="483"/>
                  </a:lnTo>
                  <a:lnTo>
                    <a:pt x="1571" y="472"/>
                  </a:lnTo>
                  <a:lnTo>
                    <a:pt x="1568" y="462"/>
                  </a:lnTo>
                  <a:lnTo>
                    <a:pt x="1563" y="452"/>
                  </a:lnTo>
                  <a:lnTo>
                    <a:pt x="1559" y="444"/>
                  </a:lnTo>
                  <a:lnTo>
                    <a:pt x="1555" y="440"/>
                  </a:lnTo>
                  <a:lnTo>
                    <a:pt x="1552" y="436"/>
                  </a:lnTo>
                  <a:lnTo>
                    <a:pt x="1546" y="430"/>
                  </a:lnTo>
                  <a:lnTo>
                    <a:pt x="1539" y="424"/>
                  </a:lnTo>
                  <a:lnTo>
                    <a:pt x="1531" y="420"/>
                  </a:lnTo>
                  <a:lnTo>
                    <a:pt x="1522" y="415"/>
                  </a:lnTo>
                  <a:lnTo>
                    <a:pt x="1512" y="412"/>
                  </a:lnTo>
                  <a:lnTo>
                    <a:pt x="1502" y="410"/>
                  </a:lnTo>
                  <a:lnTo>
                    <a:pt x="1491" y="409"/>
                  </a:lnTo>
                  <a:lnTo>
                    <a:pt x="1480" y="409"/>
                  </a:lnTo>
                  <a:lnTo>
                    <a:pt x="1469" y="409"/>
                  </a:lnTo>
                  <a:lnTo>
                    <a:pt x="1463" y="410"/>
                  </a:lnTo>
                  <a:lnTo>
                    <a:pt x="1459" y="410"/>
                  </a:lnTo>
                  <a:lnTo>
                    <a:pt x="1449" y="412"/>
                  </a:lnTo>
                  <a:lnTo>
                    <a:pt x="1439" y="415"/>
                  </a:lnTo>
                  <a:lnTo>
                    <a:pt x="1430" y="420"/>
                  </a:lnTo>
                  <a:lnTo>
                    <a:pt x="1425" y="422"/>
                  </a:lnTo>
                  <a:lnTo>
                    <a:pt x="1421" y="424"/>
                  </a:lnTo>
                  <a:lnTo>
                    <a:pt x="1413" y="431"/>
                  </a:lnTo>
                  <a:lnTo>
                    <a:pt x="1410" y="434"/>
                  </a:lnTo>
                  <a:lnTo>
                    <a:pt x="1406" y="438"/>
                  </a:lnTo>
                  <a:lnTo>
                    <a:pt x="1403" y="442"/>
                  </a:lnTo>
                  <a:lnTo>
                    <a:pt x="1400" y="445"/>
                  </a:lnTo>
                  <a:lnTo>
                    <a:pt x="1394" y="455"/>
                  </a:lnTo>
                  <a:lnTo>
                    <a:pt x="1389" y="465"/>
                  </a:lnTo>
                  <a:lnTo>
                    <a:pt x="1386" y="471"/>
                  </a:lnTo>
                  <a:lnTo>
                    <a:pt x="1385" y="478"/>
                  </a:lnTo>
                  <a:lnTo>
                    <a:pt x="1383" y="484"/>
                  </a:lnTo>
                  <a:lnTo>
                    <a:pt x="1382" y="491"/>
                  </a:lnTo>
                  <a:lnTo>
                    <a:pt x="1379" y="504"/>
                  </a:lnTo>
                  <a:lnTo>
                    <a:pt x="1378" y="520"/>
                  </a:lnTo>
                  <a:lnTo>
                    <a:pt x="1378" y="537"/>
                  </a:lnTo>
                  <a:lnTo>
                    <a:pt x="1378" y="804"/>
                  </a:lnTo>
                  <a:lnTo>
                    <a:pt x="1203" y="804"/>
                  </a:lnTo>
                  <a:lnTo>
                    <a:pt x="1203" y="273"/>
                  </a:lnTo>
                  <a:lnTo>
                    <a:pt x="1374" y="273"/>
                  </a:lnTo>
                  <a:lnTo>
                    <a:pt x="1374" y="353"/>
                  </a:lnTo>
                  <a:lnTo>
                    <a:pt x="1376" y="353"/>
                  </a:lnTo>
                  <a:lnTo>
                    <a:pt x="1383" y="342"/>
                  </a:lnTo>
                  <a:lnTo>
                    <a:pt x="1391" y="331"/>
                  </a:lnTo>
                  <a:lnTo>
                    <a:pt x="1400" y="321"/>
                  </a:lnTo>
                  <a:lnTo>
                    <a:pt x="1409" y="312"/>
                  </a:lnTo>
                  <a:lnTo>
                    <a:pt x="1418" y="303"/>
                  </a:lnTo>
                  <a:lnTo>
                    <a:pt x="1422" y="299"/>
                  </a:lnTo>
                  <a:lnTo>
                    <a:pt x="1428" y="295"/>
                  </a:lnTo>
                  <a:lnTo>
                    <a:pt x="1438" y="288"/>
                  </a:lnTo>
                  <a:lnTo>
                    <a:pt x="1449" y="281"/>
                  </a:lnTo>
                  <a:lnTo>
                    <a:pt x="1460" y="275"/>
                  </a:lnTo>
                  <a:lnTo>
                    <a:pt x="1472" y="270"/>
                  </a:lnTo>
                  <a:lnTo>
                    <a:pt x="1483" y="265"/>
                  </a:lnTo>
                  <a:lnTo>
                    <a:pt x="1496" y="262"/>
                  </a:lnTo>
                  <a:lnTo>
                    <a:pt x="1509" y="260"/>
                  </a:lnTo>
                  <a:lnTo>
                    <a:pt x="1522" y="258"/>
                  </a:lnTo>
                  <a:lnTo>
                    <a:pt x="1535" y="256"/>
                  </a:lnTo>
                  <a:lnTo>
                    <a:pt x="1550" y="255"/>
                  </a:lnTo>
                  <a:lnTo>
                    <a:pt x="1571" y="256"/>
                  </a:lnTo>
                  <a:lnTo>
                    <a:pt x="1582" y="258"/>
                  </a:lnTo>
                  <a:lnTo>
                    <a:pt x="1592" y="259"/>
                  </a:lnTo>
                  <a:lnTo>
                    <a:pt x="1602" y="261"/>
                  </a:lnTo>
                  <a:lnTo>
                    <a:pt x="1612" y="263"/>
                  </a:lnTo>
                  <a:lnTo>
                    <a:pt x="1621" y="265"/>
                  </a:lnTo>
                  <a:lnTo>
                    <a:pt x="1630" y="269"/>
                  </a:lnTo>
                  <a:lnTo>
                    <a:pt x="1640" y="272"/>
                  </a:lnTo>
                  <a:lnTo>
                    <a:pt x="1647" y="276"/>
                  </a:lnTo>
                  <a:lnTo>
                    <a:pt x="1656" y="281"/>
                  </a:lnTo>
                  <a:lnTo>
                    <a:pt x="1664" y="285"/>
                  </a:lnTo>
                  <a:lnTo>
                    <a:pt x="1672" y="291"/>
                  </a:lnTo>
                  <a:lnTo>
                    <a:pt x="1680" y="296"/>
                  </a:lnTo>
                  <a:lnTo>
                    <a:pt x="1686" y="302"/>
                  </a:lnTo>
                  <a:lnTo>
                    <a:pt x="1693" y="309"/>
                  </a:lnTo>
                  <a:lnTo>
                    <a:pt x="1700" y="315"/>
                  </a:lnTo>
                  <a:lnTo>
                    <a:pt x="1706" y="323"/>
                  </a:lnTo>
                  <a:lnTo>
                    <a:pt x="1712" y="331"/>
                  </a:lnTo>
                  <a:lnTo>
                    <a:pt x="1717" y="339"/>
                  </a:lnTo>
                  <a:lnTo>
                    <a:pt x="1722" y="348"/>
                  </a:lnTo>
                  <a:lnTo>
                    <a:pt x="1726" y="358"/>
                  </a:lnTo>
                  <a:lnTo>
                    <a:pt x="1731" y="366"/>
                  </a:lnTo>
                  <a:lnTo>
                    <a:pt x="1735" y="376"/>
                  </a:lnTo>
                  <a:lnTo>
                    <a:pt x="1739" y="388"/>
                  </a:lnTo>
                  <a:lnTo>
                    <a:pt x="1741" y="399"/>
                  </a:lnTo>
                  <a:lnTo>
                    <a:pt x="1744" y="410"/>
                  </a:lnTo>
                  <a:lnTo>
                    <a:pt x="1745" y="422"/>
                  </a:lnTo>
                  <a:lnTo>
                    <a:pt x="1747" y="434"/>
                  </a:lnTo>
                  <a:lnTo>
                    <a:pt x="1749" y="448"/>
                  </a:lnTo>
                  <a:lnTo>
                    <a:pt x="1750" y="461"/>
                  </a:lnTo>
                  <a:lnTo>
                    <a:pt x="1750" y="475"/>
                  </a:lnTo>
                  <a:close/>
                  <a:moveTo>
                    <a:pt x="2235" y="418"/>
                  </a:moveTo>
                  <a:lnTo>
                    <a:pt x="2235" y="577"/>
                  </a:lnTo>
                  <a:lnTo>
                    <a:pt x="2236" y="594"/>
                  </a:lnTo>
                  <a:lnTo>
                    <a:pt x="2238" y="609"/>
                  </a:lnTo>
                  <a:lnTo>
                    <a:pt x="2240" y="614"/>
                  </a:lnTo>
                  <a:lnTo>
                    <a:pt x="2242" y="620"/>
                  </a:lnTo>
                  <a:lnTo>
                    <a:pt x="2244" y="624"/>
                  </a:lnTo>
                  <a:lnTo>
                    <a:pt x="2247" y="629"/>
                  </a:lnTo>
                  <a:lnTo>
                    <a:pt x="2251" y="632"/>
                  </a:lnTo>
                  <a:lnTo>
                    <a:pt x="2255" y="635"/>
                  </a:lnTo>
                  <a:lnTo>
                    <a:pt x="2260" y="637"/>
                  </a:lnTo>
                  <a:lnTo>
                    <a:pt x="2265" y="640"/>
                  </a:lnTo>
                  <a:lnTo>
                    <a:pt x="2271" y="641"/>
                  </a:lnTo>
                  <a:lnTo>
                    <a:pt x="2277" y="642"/>
                  </a:lnTo>
                  <a:lnTo>
                    <a:pt x="2285" y="643"/>
                  </a:lnTo>
                  <a:lnTo>
                    <a:pt x="2293" y="643"/>
                  </a:lnTo>
                  <a:lnTo>
                    <a:pt x="2313" y="643"/>
                  </a:lnTo>
                  <a:lnTo>
                    <a:pt x="2313" y="804"/>
                  </a:lnTo>
                  <a:lnTo>
                    <a:pt x="2240" y="804"/>
                  </a:lnTo>
                  <a:lnTo>
                    <a:pt x="2221" y="803"/>
                  </a:lnTo>
                  <a:lnTo>
                    <a:pt x="2211" y="803"/>
                  </a:lnTo>
                  <a:lnTo>
                    <a:pt x="2202" y="802"/>
                  </a:lnTo>
                  <a:lnTo>
                    <a:pt x="2184" y="799"/>
                  </a:lnTo>
                  <a:lnTo>
                    <a:pt x="2166" y="794"/>
                  </a:lnTo>
                  <a:lnTo>
                    <a:pt x="2158" y="791"/>
                  </a:lnTo>
                  <a:lnTo>
                    <a:pt x="2151" y="787"/>
                  </a:lnTo>
                  <a:lnTo>
                    <a:pt x="2143" y="784"/>
                  </a:lnTo>
                  <a:lnTo>
                    <a:pt x="2136" y="781"/>
                  </a:lnTo>
                  <a:lnTo>
                    <a:pt x="2130" y="776"/>
                  </a:lnTo>
                  <a:lnTo>
                    <a:pt x="2123" y="772"/>
                  </a:lnTo>
                  <a:lnTo>
                    <a:pt x="2116" y="767"/>
                  </a:lnTo>
                  <a:lnTo>
                    <a:pt x="2111" y="762"/>
                  </a:lnTo>
                  <a:lnTo>
                    <a:pt x="2105" y="756"/>
                  </a:lnTo>
                  <a:lnTo>
                    <a:pt x="2100" y="751"/>
                  </a:lnTo>
                  <a:lnTo>
                    <a:pt x="2090" y="737"/>
                  </a:lnTo>
                  <a:lnTo>
                    <a:pt x="2085" y="730"/>
                  </a:lnTo>
                  <a:lnTo>
                    <a:pt x="2082" y="723"/>
                  </a:lnTo>
                  <a:lnTo>
                    <a:pt x="2075" y="706"/>
                  </a:lnTo>
                  <a:lnTo>
                    <a:pt x="2070" y="689"/>
                  </a:lnTo>
                  <a:lnTo>
                    <a:pt x="2067" y="679"/>
                  </a:lnTo>
                  <a:lnTo>
                    <a:pt x="2065" y="669"/>
                  </a:lnTo>
                  <a:lnTo>
                    <a:pt x="2064" y="659"/>
                  </a:lnTo>
                  <a:lnTo>
                    <a:pt x="2063" y="647"/>
                  </a:lnTo>
                  <a:lnTo>
                    <a:pt x="2062" y="636"/>
                  </a:lnTo>
                  <a:lnTo>
                    <a:pt x="2062" y="624"/>
                  </a:lnTo>
                  <a:lnTo>
                    <a:pt x="2062" y="418"/>
                  </a:lnTo>
                  <a:lnTo>
                    <a:pt x="1959" y="418"/>
                  </a:lnTo>
                  <a:lnTo>
                    <a:pt x="1959" y="273"/>
                  </a:lnTo>
                  <a:lnTo>
                    <a:pt x="2062" y="273"/>
                  </a:lnTo>
                  <a:lnTo>
                    <a:pt x="2062" y="60"/>
                  </a:lnTo>
                  <a:lnTo>
                    <a:pt x="2235" y="60"/>
                  </a:lnTo>
                  <a:lnTo>
                    <a:pt x="2235" y="273"/>
                  </a:lnTo>
                  <a:lnTo>
                    <a:pt x="2345" y="273"/>
                  </a:lnTo>
                  <a:lnTo>
                    <a:pt x="2345" y="418"/>
                  </a:lnTo>
                  <a:lnTo>
                    <a:pt x="2235" y="418"/>
                  </a:lnTo>
                  <a:close/>
                  <a:moveTo>
                    <a:pt x="2556" y="343"/>
                  </a:moveTo>
                  <a:lnTo>
                    <a:pt x="2558" y="343"/>
                  </a:lnTo>
                  <a:lnTo>
                    <a:pt x="2565" y="333"/>
                  </a:lnTo>
                  <a:lnTo>
                    <a:pt x="2573" y="323"/>
                  </a:lnTo>
                  <a:lnTo>
                    <a:pt x="2581" y="314"/>
                  </a:lnTo>
                  <a:lnTo>
                    <a:pt x="2585" y="310"/>
                  </a:lnTo>
                  <a:lnTo>
                    <a:pt x="2589" y="305"/>
                  </a:lnTo>
                  <a:lnTo>
                    <a:pt x="2598" y="298"/>
                  </a:lnTo>
                  <a:lnTo>
                    <a:pt x="2608" y="291"/>
                  </a:lnTo>
                  <a:lnTo>
                    <a:pt x="2618" y="284"/>
                  </a:lnTo>
                  <a:lnTo>
                    <a:pt x="2628" y="279"/>
                  </a:lnTo>
                  <a:lnTo>
                    <a:pt x="2639" y="273"/>
                  </a:lnTo>
                  <a:lnTo>
                    <a:pt x="2651" y="269"/>
                  </a:lnTo>
                  <a:lnTo>
                    <a:pt x="2663" y="264"/>
                  </a:lnTo>
                  <a:lnTo>
                    <a:pt x="2675" y="261"/>
                  </a:lnTo>
                  <a:lnTo>
                    <a:pt x="2687" y="259"/>
                  </a:lnTo>
                  <a:lnTo>
                    <a:pt x="2694" y="258"/>
                  </a:lnTo>
                  <a:lnTo>
                    <a:pt x="2701" y="258"/>
                  </a:lnTo>
                  <a:lnTo>
                    <a:pt x="2714" y="256"/>
                  </a:lnTo>
                  <a:lnTo>
                    <a:pt x="2728" y="255"/>
                  </a:lnTo>
                  <a:lnTo>
                    <a:pt x="2749" y="256"/>
                  </a:lnTo>
                  <a:lnTo>
                    <a:pt x="2760" y="258"/>
                  </a:lnTo>
                  <a:lnTo>
                    <a:pt x="2770" y="259"/>
                  </a:lnTo>
                  <a:lnTo>
                    <a:pt x="2780" y="261"/>
                  </a:lnTo>
                  <a:lnTo>
                    <a:pt x="2790" y="263"/>
                  </a:lnTo>
                  <a:lnTo>
                    <a:pt x="2799" y="265"/>
                  </a:lnTo>
                  <a:lnTo>
                    <a:pt x="2809" y="269"/>
                  </a:lnTo>
                  <a:lnTo>
                    <a:pt x="2818" y="272"/>
                  </a:lnTo>
                  <a:lnTo>
                    <a:pt x="2826" y="276"/>
                  </a:lnTo>
                  <a:lnTo>
                    <a:pt x="2835" y="281"/>
                  </a:lnTo>
                  <a:lnTo>
                    <a:pt x="2843" y="285"/>
                  </a:lnTo>
                  <a:lnTo>
                    <a:pt x="2850" y="291"/>
                  </a:lnTo>
                  <a:lnTo>
                    <a:pt x="2858" y="296"/>
                  </a:lnTo>
                  <a:lnTo>
                    <a:pt x="2865" y="302"/>
                  </a:lnTo>
                  <a:lnTo>
                    <a:pt x="2872" y="309"/>
                  </a:lnTo>
                  <a:lnTo>
                    <a:pt x="2878" y="315"/>
                  </a:lnTo>
                  <a:lnTo>
                    <a:pt x="2885" y="323"/>
                  </a:lnTo>
                  <a:lnTo>
                    <a:pt x="2890" y="331"/>
                  </a:lnTo>
                  <a:lnTo>
                    <a:pt x="2896" y="339"/>
                  </a:lnTo>
                  <a:lnTo>
                    <a:pt x="2900" y="348"/>
                  </a:lnTo>
                  <a:lnTo>
                    <a:pt x="2905" y="358"/>
                  </a:lnTo>
                  <a:lnTo>
                    <a:pt x="2909" y="366"/>
                  </a:lnTo>
                  <a:lnTo>
                    <a:pt x="2914" y="376"/>
                  </a:lnTo>
                  <a:lnTo>
                    <a:pt x="2917" y="388"/>
                  </a:lnTo>
                  <a:lnTo>
                    <a:pt x="2919" y="399"/>
                  </a:lnTo>
                  <a:lnTo>
                    <a:pt x="2923" y="410"/>
                  </a:lnTo>
                  <a:lnTo>
                    <a:pt x="2925" y="422"/>
                  </a:lnTo>
                  <a:lnTo>
                    <a:pt x="2926" y="434"/>
                  </a:lnTo>
                  <a:lnTo>
                    <a:pt x="2927" y="448"/>
                  </a:lnTo>
                  <a:lnTo>
                    <a:pt x="2928" y="461"/>
                  </a:lnTo>
                  <a:lnTo>
                    <a:pt x="2928" y="475"/>
                  </a:lnTo>
                  <a:lnTo>
                    <a:pt x="2928" y="804"/>
                  </a:lnTo>
                  <a:lnTo>
                    <a:pt x="2755" y="804"/>
                  </a:lnTo>
                  <a:lnTo>
                    <a:pt x="2755" y="523"/>
                  </a:lnTo>
                  <a:lnTo>
                    <a:pt x="2754" y="509"/>
                  </a:lnTo>
                  <a:lnTo>
                    <a:pt x="2753" y="495"/>
                  </a:lnTo>
                  <a:lnTo>
                    <a:pt x="2752" y="483"/>
                  </a:lnTo>
                  <a:lnTo>
                    <a:pt x="2748" y="472"/>
                  </a:lnTo>
                  <a:lnTo>
                    <a:pt x="2745" y="462"/>
                  </a:lnTo>
                  <a:lnTo>
                    <a:pt x="2741" y="452"/>
                  </a:lnTo>
                  <a:lnTo>
                    <a:pt x="2738" y="448"/>
                  </a:lnTo>
                  <a:lnTo>
                    <a:pt x="2736" y="444"/>
                  </a:lnTo>
                  <a:lnTo>
                    <a:pt x="2733" y="440"/>
                  </a:lnTo>
                  <a:lnTo>
                    <a:pt x="2731" y="436"/>
                  </a:lnTo>
                  <a:lnTo>
                    <a:pt x="2724" y="430"/>
                  </a:lnTo>
                  <a:lnTo>
                    <a:pt x="2716" y="424"/>
                  </a:lnTo>
                  <a:lnTo>
                    <a:pt x="2708" y="420"/>
                  </a:lnTo>
                  <a:lnTo>
                    <a:pt x="2699" y="415"/>
                  </a:lnTo>
                  <a:lnTo>
                    <a:pt x="2691" y="412"/>
                  </a:lnTo>
                  <a:lnTo>
                    <a:pt x="2681" y="410"/>
                  </a:lnTo>
                  <a:lnTo>
                    <a:pt x="2669" y="409"/>
                  </a:lnTo>
                  <a:lnTo>
                    <a:pt x="2658" y="409"/>
                  </a:lnTo>
                  <a:lnTo>
                    <a:pt x="2647" y="409"/>
                  </a:lnTo>
                  <a:lnTo>
                    <a:pt x="2642" y="410"/>
                  </a:lnTo>
                  <a:lnTo>
                    <a:pt x="2637" y="410"/>
                  </a:lnTo>
                  <a:lnTo>
                    <a:pt x="2627" y="412"/>
                  </a:lnTo>
                  <a:lnTo>
                    <a:pt x="2617" y="415"/>
                  </a:lnTo>
                  <a:lnTo>
                    <a:pt x="2608" y="420"/>
                  </a:lnTo>
                  <a:lnTo>
                    <a:pt x="2604" y="422"/>
                  </a:lnTo>
                  <a:lnTo>
                    <a:pt x="2599" y="424"/>
                  </a:lnTo>
                  <a:lnTo>
                    <a:pt x="2592" y="431"/>
                  </a:lnTo>
                  <a:lnTo>
                    <a:pt x="2588" y="434"/>
                  </a:lnTo>
                  <a:lnTo>
                    <a:pt x="2585" y="438"/>
                  </a:lnTo>
                  <a:lnTo>
                    <a:pt x="2582" y="442"/>
                  </a:lnTo>
                  <a:lnTo>
                    <a:pt x="2578" y="445"/>
                  </a:lnTo>
                  <a:lnTo>
                    <a:pt x="2573" y="455"/>
                  </a:lnTo>
                  <a:lnTo>
                    <a:pt x="2567" y="465"/>
                  </a:lnTo>
                  <a:lnTo>
                    <a:pt x="2566" y="471"/>
                  </a:lnTo>
                  <a:lnTo>
                    <a:pt x="2564" y="478"/>
                  </a:lnTo>
                  <a:lnTo>
                    <a:pt x="2562" y="484"/>
                  </a:lnTo>
                  <a:lnTo>
                    <a:pt x="2561" y="491"/>
                  </a:lnTo>
                  <a:lnTo>
                    <a:pt x="2558" y="504"/>
                  </a:lnTo>
                  <a:lnTo>
                    <a:pt x="2556" y="520"/>
                  </a:lnTo>
                  <a:lnTo>
                    <a:pt x="2556" y="537"/>
                  </a:lnTo>
                  <a:lnTo>
                    <a:pt x="2556" y="804"/>
                  </a:lnTo>
                  <a:lnTo>
                    <a:pt x="2383" y="804"/>
                  </a:lnTo>
                  <a:lnTo>
                    <a:pt x="2383" y="0"/>
                  </a:lnTo>
                  <a:lnTo>
                    <a:pt x="2556" y="0"/>
                  </a:lnTo>
                  <a:lnTo>
                    <a:pt x="2556" y="343"/>
                  </a:lnTo>
                  <a:close/>
                  <a:moveTo>
                    <a:pt x="3506" y="541"/>
                  </a:moveTo>
                  <a:lnTo>
                    <a:pt x="3506" y="580"/>
                  </a:lnTo>
                  <a:lnTo>
                    <a:pt x="3125" y="580"/>
                  </a:lnTo>
                  <a:lnTo>
                    <a:pt x="3128" y="592"/>
                  </a:lnTo>
                  <a:lnTo>
                    <a:pt x="3131" y="603"/>
                  </a:lnTo>
                  <a:lnTo>
                    <a:pt x="3136" y="613"/>
                  </a:lnTo>
                  <a:lnTo>
                    <a:pt x="3141" y="623"/>
                  </a:lnTo>
                  <a:lnTo>
                    <a:pt x="3147" y="632"/>
                  </a:lnTo>
                  <a:lnTo>
                    <a:pt x="3155" y="640"/>
                  </a:lnTo>
                  <a:lnTo>
                    <a:pt x="3163" y="646"/>
                  </a:lnTo>
                  <a:lnTo>
                    <a:pt x="3170" y="653"/>
                  </a:lnTo>
                  <a:lnTo>
                    <a:pt x="3180" y="659"/>
                  </a:lnTo>
                  <a:lnTo>
                    <a:pt x="3189" y="663"/>
                  </a:lnTo>
                  <a:lnTo>
                    <a:pt x="3200" y="667"/>
                  </a:lnTo>
                  <a:lnTo>
                    <a:pt x="3211" y="671"/>
                  </a:lnTo>
                  <a:lnTo>
                    <a:pt x="3223" y="673"/>
                  </a:lnTo>
                  <a:lnTo>
                    <a:pt x="3229" y="674"/>
                  </a:lnTo>
                  <a:lnTo>
                    <a:pt x="3235" y="675"/>
                  </a:lnTo>
                  <a:lnTo>
                    <a:pt x="3248" y="676"/>
                  </a:lnTo>
                  <a:lnTo>
                    <a:pt x="3260" y="676"/>
                  </a:lnTo>
                  <a:lnTo>
                    <a:pt x="3273" y="676"/>
                  </a:lnTo>
                  <a:lnTo>
                    <a:pt x="3285" y="675"/>
                  </a:lnTo>
                  <a:lnTo>
                    <a:pt x="3296" y="674"/>
                  </a:lnTo>
                  <a:lnTo>
                    <a:pt x="3307" y="672"/>
                  </a:lnTo>
                  <a:lnTo>
                    <a:pt x="3318" y="670"/>
                  </a:lnTo>
                  <a:lnTo>
                    <a:pt x="3329" y="666"/>
                  </a:lnTo>
                  <a:lnTo>
                    <a:pt x="3349" y="661"/>
                  </a:lnTo>
                  <a:lnTo>
                    <a:pt x="3359" y="656"/>
                  </a:lnTo>
                  <a:lnTo>
                    <a:pt x="3368" y="653"/>
                  </a:lnTo>
                  <a:lnTo>
                    <a:pt x="3377" y="649"/>
                  </a:lnTo>
                  <a:lnTo>
                    <a:pt x="3386" y="645"/>
                  </a:lnTo>
                  <a:lnTo>
                    <a:pt x="3401" y="636"/>
                  </a:lnTo>
                  <a:lnTo>
                    <a:pt x="3415" y="627"/>
                  </a:lnTo>
                  <a:lnTo>
                    <a:pt x="3478" y="759"/>
                  </a:lnTo>
                  <a:lnTo>
                    <a:pt x="3467" y="765"/>
                  </a:lnTo>
                  <a:lnTo>
                    <a:pt x="3456" y="772"/>
                  </a:lnTo>
                  <a:lnTo>
                    <a:pt x="3445" y="777"/>
                  </a:lnTo>
                  <a:lnTo>
                    <a:pt x="3433" y="783"/>
                  </a:lnTo>
                  <a:lnTo>
                    <a:pt x="3408" y="794"/>
                  </a:lnTo>
                  <a:lnTo>
                    <a:pt x="3395" y="799"/>
                  </a:lnTo>
                  <a:lnTo>
                    <a:pt x="3381" y="803"/>
                  </a:lnTo>
                  <a:lnTo>
                    <a:pt x="3367" y="807"/>
                  </a:lnTo>
                  <a:lnTo>
                    <a:pt x="3353" y="811"/>
                  </a:lnTo>
                  <a:lnTo>
                    <a:pt x="3338" y="814"/>
                  </a:lnTo>
                  <a:lnTo>
                    <a:pt x="3324" y="816"/>
                  </a:lnTo>
                  <a:lnTo>
                    <a:pt x="3308" y="819"/>
                  </a:lnTo>
                  <a:lnTo>
                    <a:pt x="3291" y="820"/>
                  </a:lnTo>
                  <a:lnTo>
                    <a:pt x="3276" y="821"/>
                  </a:lnTo>
                  <a:lnTo>
                    <a:pt x="3258" y="821"/>
                  </a:lnTo>
                  <a:lnTo>
                    <a:pt x="3243" y="821"/>
                  </a:lnTo>
                  <a:lnTo>
                    <a:pt x="3226" y="820"/>
                  </a:lnTo>
                  <a:lnTo>
                    <a:pt x="3210" y="819"/>
                  </a:lnTo>
                  <a:lnTo>
                    <a:pt x="3195" y="816"/>
                  </a:lnTo>
                  <a:lnTo>
                    <a:pt x="3179" y="813"/>
                  </a:lnTo>
                  <a:lnTo>
                    <a:pt x="3165" y="810"/>
                  </a:lnTo>
                  <a:lnTo>
                    <a:pt x="3150" y="805"/>
                  </a:lnTo>
                  <a:lnTo>
                    <a:pt x="3137" y="801"/>
                  </a:lnTo>
                  <a:lnTo>
                    <a:pt x="3124" y="796"/>
                  </a:lnTo>
                  <a:lnTo>
                    <a:pt x="3110" y="790"/>
                  </a:lnTo>
                  <a:lnTo>
                    <a:pt x="3098" y="784"/>
                  </a:lnTo>
                  <a:lnTo>
                    <a:pt x="3087" y="777"/>
                  </a:lnTo>
                  <a:lnTo>
                    <a:pt x="3080" y="773"/>
                  </a:lnTo>
                  <a:lnTo>
                    <a:pt x="3075" y="770"/>
                  </a:lnTo>
                  <a:lnTo>
                    <a:pt x="3064" y="762"/>
                  </a:lnTo>
                  <a:lnTo>
                    <a:pt x="3054" y="753"/>
                  </a:lnTo>
                  <a:lnTo>
                    <a:pt x="3044" y="744"/>
                  </a:lnTo>
                  <a:lnTo>
                    <a:pt x="3034" y="735"/>
                  </a:lnTo>
                  <a:lnTo>
                    <a:pt x="3025" y="725"/>
                  </a:lnTo>
                  <a:lnTo>
                    <a:pt x="3017" y="714"/>
                  </a:lnTo>
                  <a:lnTo>
                    <a:pt x="3009" y="704"/>
                  </a:lnTo>
                  <a:lnTo>
                    <a:pt x="3002" y="692"/>
                  </a:lnTo>
                  <a:lnTo>
                    <a:pt x="2995" y="681"/>
                  </a:lnTo>
                  <a:lnTo>
                    <a:pt x="2989" y="669"/>
                  </a:lnTo>
                  <a:lnTo>
                    <a:pt x="2984" y="655"/>
                  </a:lnTo>
                  <a:lnTo>
                    <a:pt x="2978" y="643"/>
                  </a:lnTo>
                  <a:lnTo>
                    <a:pt x="2974" y="630"/>
                  </a:lnTo>
                  <a:lnTo>
                    <a:pt x="2970" y="615"/>
                  </a:lnTo>
                  <a:lnTo>
                    <a:pt x="2967" y="601"/>
                  </a:lnTo>
                  <a:lnTo>
                    <a:pt x="2965" y="586"/>
                  </a:lnTo>
                  <a:lnTo>
                    <a:pt x="2964" y="572"/>
                  </a:lnTo>
                  <a:lnTo>
                    <a:pt x="2963" y="556"/>
                  </a:lnTo>
                  <a:lnTo>
                    <a:pt x="2963" y="541"/>
                  </a:lnTo>
                  <a:lnTo>
                    <a:pt x="2963" y="524"/>
                  </a:lnTo>
                  <a:lnTo>
                    <a:pt x="2964" y="508"/>
                  </a:lnTo>
                  <a:lnTo>
                    <a:pt x="2965" y="492"/>
                  </a:lnTo>
                  <a:lnTo>
                    <a:pt x="2967" y="478"/>
                  </a:lnTo>
                  <a:lnTo>
                    <a:pt x="2970" y="462"/>
                  </a:lnTo>
                  <a:lnTo>
                    <a:pt x="2974" y="448"/>
                  </a:lnTo>
                  <a:lnTo>
                    <a:pt x="2978" y="434"/>
                  </a:lnTo>
                  <a:lnTo>
                    <a:pt x="2983" y="421"/>
                  </a:lnTo>
                  <a:lnTo>
                    <a:pt x="2988" y="408"/>
                  </a:lnTo>
                  <a:lnTo>
                    <a:pt x="2994" y="395"/>
                  </a:lnTo>
                  <a:lnTo>
                    <a:pt x="3000" y="383"/>
                  </a:lnTo>
                  <a:lnTo>
                    <a:pt x="3008" y="372"/>
                  </a:lnTo>
                  <a:lnTo>
                    <a:pt x="3015" y="361"/>
                  </a:lnTo>
                  <a:lnTo>
                    <a:pt x="3024" y="351"/>
                  </a:lnTo>
                  <a:lnTo>
                    <a:pt x="3032" y="341"/>
                  </a:lnTo>
                  <a:lnTo>
                    <a:pt x="3042" y="332"/>
                  </a:lnTo>
                  <a:lnTo>
                    <a:pt x="3050" y="323"/>
                  </a:lnTo>
                  <a:lnTo>
                    <a:pt x="3060" y="314"/>
                  </a:lnTo>
                  <a:lnTo>
                    <a:pt x="3072" y="306"/>
                  </a:lnTo>
                  <a:lnTo>
                    <a:pt x="3083" y="300"/>
                  </a:lnTo>
                  <a:lnTo>
                    <a:pt x="3094" y="293"/>
                  </a:lnTo>
                  <a:lnTo>
                    <a:pt x="3105" y="286"/>
                  </a:lnTo>
                  <a:lnTo>
                    <a:pt x="3117" y="281"/>
                  </a:lnTo>
                  <a:lnTo>
                    <a:pt x="3130" y="276"/>
                  </a:lnTo>
                  <a:lnTo>
                    <a:pt x="3143" y="272"/>
                  </a:lnTo>
                  <a:lnTo>
                    <a:pt x="3156" y="268"/>
                  </a:lnTo>
                  <a:lnTo>
                    <a:pt x="3169" y="264"/>
                  </a:lnTo>
                  <a:lnTo>
                    <a:pt x="3184" y="262"/>
                  </a:lnTo>
                  <a:lnTo>
                    <a:pt x="3198" y="260"/>
                  </a:lnTo>
                  <a:lnTo>
                    <a:pt x="3213" y="258"/>
                  </a:lnTo>
                  <a:lnTo>
                    <a:pt x="3227" y="258"/>
                  </a:lnTo>
                  <a:lnTo>
                    <a:pt x="3243" y="256"/>
                  </a:lnTo>
                  <a:lnTo>
                    <a:pt x="3257" y="258"/>
                  </a:lnTo>
                  <a:lnTo>
                    <a:pt x="3271" y="258"/>
                  </a:lnTo>
                  <a:lnTo>
                    <a:pt x="3286" y="260"/>
                  </a:lnTo>
                  <a:lnTo>
                    <a:pt x="3299" y="261"/>
                  </a:lnTo>
                  <a:lnTo>
                    <a:pt x="3313" y="263"/>
                  </a:lnTo>
                  <a:lnTo>
                    <a:pt x="3326" y="266"/>
                  </a:lnTo>
                  <a:lnTo>
                    <a:pt x="3339" y="270"/>
                  </a:lnTo>
                  <a:lnTo>
                    <a:pt x="3345" y="272"/>
                  </a:lnTo>
                  <a:lnTo>
                    <a:pt x="3351" y="274"/>
                  </a:lnTo>
                  <a:lnTo>
                    <a:pt x="3363" y="279"/>
                  </a:lnTo>
                  <a:lnTo>
                    <a:pt x="3375" y="284"/>
                  </a:lnTo>
                  <a:lnTo>
                    <a:pt x="3386" y="290"/>
                  </a:lnTo>
                  <a:lnTo>
                    <a:pt x="3396" y="296"/>
                  </a:lnTo>
                  <a:lnTo>
                    <a:pt x="3406" y="303"/>
                  </a:lnTo>
                  <a:lnTo>
                    <a:pt x="3411" y="306"/>
                  </a:lnTo>
                  <a:lnTo>
                    <a:pt x="3416" y="311"/>
                  </a:lnTo>
                  <a:lnTo>
                    <a:pt x="3425" y="319"/>
                  </a:lnTo>
                  <a:lnTo>
                    <a:pt x="3434" y="326"/>
                  </a:lnTo>
                  <a:lnTo>
                    <a:pt x="3443" y="336"/>
                  </a:lnTo>
                  <a:lnTo>
                    <a:pt x="3450" y="345"/>
                  </a:lnTo>
                  <a:lnTo>
                    <a:pt x="3458" y="355"/>
                  </a:lnTo>
                  <a:lnTo>
                    <a:pt x="3465" y="366"/>
                  </a:lnTo>
                  <a:lnTo>
                    <a:pt x="3471" y="378"/>
                  </a:lnTo>
                  <a:lnTo>
                    <a:pt x="3477" y="390"/>
                  </a:lnTo>
                  <a:lnTo>
                    <a:pt x="3483" y="402"/>
                  </a:lnTo>
                  <a:lnTo>
                    <a:pt x="3487" y="415"/>
                  </a:lnTo>
                  <a:lnTo>
                    <a:pt x="3489" y="422"/>
                  </a:lnTo>
                  <a:lnTo>
                    <a:pt x="3491" y="429"/>
                  </a:lnTo>
                  <a:lnTo>
                    <a:pt x="3495" y="443"/>
                  </a:lnTo>
                  <a:lnTo>
                    <a:pt x="3498" y="458"/>
                  </a:lnTo>
                  <a:lnTo>
                    <a:pt x="3501" y="473"/>
                  </a:lnTo>
                  <a:lnTo>
                    <a:pt x="3502" y="490"/>
                  </a:lnTo>
                  <a:lnTo>
                    <a:pt x="3505" y="506"/>
                  </a:lnTo>
                  <a:lnTo>
                    <a:pt x="3506" y="523"/>
                  </a:lnTo>
                  <a:lnTo>
                    <a:pt x="3506" y="541"/>
                  </a:lnTo>
                  <a:close/>
                  <a:moveTo>
                    <a:pt x="3126" y="478"/>
                  </a:moveTo>
                  <a:lnTo>
                    <a:pt x="3338" y="478"/>
                  </a:lnTo>
                  <a:lnTo>
                    <a:pt x="3337" y="466"/>
                  </a:lnTo>
                  <a:lnTo>
                    <a:pt x="3335" y="455"/>
                  </a:lnTo>
                  <a:lnTo>
                    <a:pt x="3333" y="445"/>
                  </a:lnTo>
                  <a:lnTo>
                    <a:pt x="3329" y="436"/>
                  </a:lnTo>
                  <a:lnTo>
                    <a:pt x="3325" y="428"/>
                  </a:lnTo>
                  <a:lnTo>
                    <a:pt x="3319" y="420"/>
                  </a:lnTo>
                  <a:lnTo>
                    <a:pt x="3317" y="415"/>
                  </a:lnTo>
                  <a:lnTo>
                    <a:pt x="3314" y="412"/>
                  </a:lnTo>
                  <a:lnTo>
                    <a:pt x="3308" y="405"/>
                  </a:lnTo>
                  <a:lnTo>
                    <a:pt x="3300" y="400"/>
                  </a:lnTo>
                  <a:lnTo>
                    <a:pt x="3293" y="394"/>
                  </a:lnTo>
                  <a:lnTo>
                    <a:pt x="3285" y="390"/>
                  </a:lnTo>
                  <a:lnTo>
                    <a:pt x="3276" y="386"/>
                  </a:lnTo>
                  <a:lnTo>
                    <a:pt x="3267" y="383"/>
                  </a:lnTo>
                  <a:lnTo>
                    <a:pt x="3257" y="382"/>
                  </a:lnTo>
                  <a:lnTo>
                    <a:pt x="3247" y="380"/>
                  </a:lnTo>
                  <a:lnTo>
                    <a:pt x="3237" y="380"/>
                  </a:lnTo>
                  <a:lnTo>
                    <a:pt x="3226" y="380"/>
                  </a:lnTo>
                  <a:lnTo>
                    <a:pt x="3216" y="381"/>
                  </a:lnTo>
                  <a:lnTo>
                    <a:pt x="3206" y="383"/>
                  </a:lnTo>
                  <a:lnTo>
                    <a:pt x="3196" y="385"/>
                  </a:lnTo>
                  <a:lnTo>
                    <a:pt x="3187" y="389"/>
                  </a:lnTo>
                  <a:lnTo>
                    <a:pt x="3178" y="393"/>
                  </a:lnTo>
                  <a:lnTo>
                    <a:pt x="3170" y="398"/>
                  </a:lnTo>
                  <a:lnTo>
                    <a:pt x="3163" y="403"/>
                  </a:lnTo>
                  <a:lnTo>
                    <a:pt x="3156" y="409"/>
                  </a:lnTo>
                  <a:lnTo>
                    <a:pt x="3149" y="416"/>
                  </a:lnTo>
                  <a:lnTo>
                    <a:pt x="3144" y="424"/>
                  </a:lnTo>
                  <a:lnTo>
                    <a:pt x="3139" y="433"/>
                  </a:lnTo>
                  <a:lnTo>
                    <a:pt x="3137" y="438"/>
                  </a:lnTo>
                  <a:lnTo>
                    <a:pt x="3135" y="443"/>
                  </a:lnTo>
                  <a:lnTo>
                    <a:pt x="3131" y="453"/>
                  </a:lnTo>
                  <a:lnTo>
                    <a:pt x="3128" y="465"/>
                  </a:lnTo>
                  <a:lnTo>
                    <a:pt x="3126" y="4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2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0176312" y="5785847"/>
                </a:moveTo>
                <a:lnTo>
                  <a:pt x="10176312" y="5892262"/>
                </a:lnTo>
                <a:lnTo>
                  <a:pt x="10176312" y="5998816"/>
                </a:lnTo>
                <a:lnTo>
                  <a:pt x="10176312" y="6105371"/>
                </a:lnTo>
                <a:lnTo>
                  <a:pt x="10176312" y="6211926"/>
                </a:lnTo>
                <a:lnTo>
                  <a:pt x="10267500" y="6211926"/>
                </a:lnTo>
                <a:lnTo>
                  <a:pt x="10297850" y="6211926"/>
                </a:lnTo>
                <a:lnTo>
                  <a:pt x="10297850" y="6333813"/>
                </a:lnTo>
                <a:lnTo>
                  <a:pt x="10297850" y="6455700"/>
                </a:lnTo>
                <a:lnTo>
                  <a:pt x="10297850" y="6577586"/>
                </a:lnTo>
                <a:lnTo>
                  <a:pt x="10297850" y="6699473"/>
                </a:lnTo>
                <a:lnTo>
                  <a:pt x="10389125" y="6699473"/>
                </a:lnTo>
                <a:lnTo>
                  <a:pt x="10480540" y="6699473"/>
                </a:lnTo>
                <a:lnTo>
                  <a:pt x="10572095" y="6699473"/>
                </a:lnTo>
                <a:lnTo>
                  <a:pt x="10663510" y="6699473"/>
                </a:lnTo>
                <a:lnTo>
                  <a:pt x="10754785" y="6699473"/>
                </a:lnTo>
                <a:lnTo>
                  <a:pt x="10846199" y="6699473"/>
                </a:lnTo>
                <a:lnTo>
                  <a:pt x="10937754" y="6699473"/>
                </a:lnTo>
                <a:lnTo>
                  <a:pt x="11029169" y="6699473"/>
                </a:lnTo>
                <a:lnTo>
                  <a:pt x="11120444" y="6699473"/>
                </a:lnTo>
                <a:lnTo>
                  <a:pt x="11211859" y="6699473"/>
                </a:lnTo>
                <a:lnTo>
                  <a:pt x="11303274" y="6699473"/>
                </a:lnTo>
                <a:lnTo>
                  <a:pt x="11394828" y="6699473"/>
                </a:lnTo>
                <a:lnTo>
                  <a:pt x="11486104" y="6699473"/>
                </a:lnTo>
                <a:lnTo>
                  <a:pt x="11577518" y="6699473"/>
                </a:lnTo>
                <a:lnTo>
                  <a:pt x="11668933" y="6699473"/>
                </a:lnTo>
                <a:lnTo>
                  <a:pt x="11760488" y="6699473"/>
                </a:lnTo>
                <a:lnTo>
                  <a:pt x="11760488" y="6577586"/>
                </a:lnTo>
                <a:lnTo>
                  <a:pt x="11760488" y="6455700"/>
                </a:lnTo>
                <a:lnTo>
                  <a:pt x="11760488" y="6333813"/>
                </a:lnTo>
                <a:lnTo>
                  <a:pt x="11760488" y="6211926"/>
                </a:lnTo>
                <a:lnTo>
                  <a:pt x="11668933" y="6211926"/>
                </a:lnTo>
                <a:lnTo>
                  <a:pt x="11577518" y="6211926"/>
                </a:lnTo>
                <a:lnTo>
                  <a:pt x="11486104" y="6211926"/>
                </a:lnTo>
                <a:lnTo>
                  <a:pt x="11394828" y="6211926"/>
                </a:lnTo>
                <a:lnTo>
                  <a:pt x="11303274" y="6211926"/>
                </a:lnTo>
                <a:lnTo>
                  <a:pt x="11211859" y="6211926"/>
                </a:lnTo>
                <a:lnTo>
                  <a:pt x="11120444" y="6211926"/>
                </a:lnTo>
                <a:lnTo>
                  <a:pt x="11029169" y="6211926"/>
                </a:lnTo>
                <a:lnTo>
                  <a:pt x="10937754" y="6211926"/>
                </a:lnTo>
                <a:lnTo>
                  <a:pt x="10906933" y="6211926"/>
                </a:lnTo>
                <a:lnTo>
                  <a:pt x="10906933" y="6105371"/>
                </a:lnTo>
                <a:lnTo>
                  <a:pt x="10906933" y="5998816"/>
                </a:lnTo>
                <a:lnTo>
                  <a:pt x="10906933" y="5892262"/>
                </a:lnTo>
                <a:lnTo>
                  <a:pt x="10906933" y="5785847"/>
                </a:lnTo>
                <a:lnTo>
                  <a:pt x="10815605" y="5785847"/>
                </a:lnTo>
                <a:lnTo>
                  <a:pt x="10724138" y="5785847"/>
                </a:lnTo>
                <a:lnTo>
                  <a:pt x="10632810" y="5785847"/>
                </a:lnTo>
                <a:lnTo>
                  <a:pt x="10541622" y="5785847"/>
                </a:lnTo>
                <a:lnTo>
                  <a:pt x="10450295" y="5785847"/>
                </a:lnTo>
                <a:lnTo>
                  <a:pt x="10358828" y="5785847"/>
                </a:lnTo>
                <a:lnTo>
                  <a:pt x="10267500" y="5785847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2"/>
              </a:buClr>
              <a:buSzTx/>
              <a:buFontTx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change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50866" y="1926000"/>
            <a:ext cx="9217025" cy="1296000"/>
          </a:xfrm>
        </p:spPr>
        <p:txBody>
          <a:bodyPr anchor="t" anchorCtr="0"/>
          <a:lstStyle>
            <a:lvl1pPr algn="l">
              <a:defRPr sz="5000" b="1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5000"/>
                    </a:prstClr>
                  </a:outerShdw>
                </a:effectLst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50866" y="1404000"/>
            <a:ext cx="9217025" cy="360000"/>
          </a:xfrm>
        </p:spPr>
        <p:txBody>
          <a:bodyPr anchor="b" anchorCtr="0"/>
          <a:lstStyle>
            <a:lvl1pPr marL="0" indent="0" algn="l">
              <a:buNone/>
              <a:defRPr sz="200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5000"/>
                    </a:prstClr>
                  </a:outerShdw>
                </a:effectLst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8710A53A-8F37-4A54-B108-F20291A65A07}" type="datetime1">
              <a:rPr lang="en-US" smtClean="0"/>
              <a:t>5/29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6" y="4653136"/>
            <a:ext cx="9217025" cy="720552"/>
          </a:xfrm>
        </p:spPr>
        <p:txBody>
          <a:bodyPr/>
          <a:lstStyle>
            <a:lvl1pPr marL="0" indent="0">
              <a:buFontTx/>
              <a:buNone/>
              <a:defRPr baseline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5000"/>
                    </a:prstClr>
                  </a:outerShdw>
                </a:effectLst>
              </a:defRPr>
            </a:lvl1pPr>
          </a:lstStyle>
          <a:p>
            <a:pPr lvl="0"/>
            <a:r>
              <a:rPr lang="en-US" dirty="0"/>
              <a:t>Name / Title / Date</a:t>
            </a:r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-2098"/>
            <a:ext cx="1299600" cy="831600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fi-FI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8700685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slide_picture_2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/>
          <p:cNvGrpSpPr>
            <a:grpSpLocks noChangeAspect="1"/>
          </p:cNvGrpSpPr>
          <p:nvPr userDrawn="1"/>
        </p:nvGrpSpPr>
        <p:grpSpPr>
          <a:xfrm>
            <a:off x="10297850" y="6211927"/>
            <a:ext cx="1462638" cy="487547"/>
            <a:chOff x="10297850" y="6211927"/>
            <a:chExt cx="1462638" cy="487547"/>
          </a:xfrm>
        </p:grpSpPr>
        <p:sp>
          <p:nvSpPr>
            <p:cNvPr id="21" name="Freeform 6"/>
            <p:cNvSpPr>
              <a:spLocks/>
            </p:cNvSpPr>
            <p:nvPr userDrawn="1"/>
          </p:nvSpPr>
          <p:spPr bwMode="auto">
            <a:xfrm>
              <a:off x="10297850" y="6211927"/>
              <a:ext cx="1462638" cy="487547"/>
            </a:xfrm>
            <a:custGeom>
              <a:avLst/>
              <a:gdLst>
                <a:gd name="T0" fmla="*/ 0 w 10464"/>
                <a:gd name="T1" fmla="*/ 3488 h 3488"/>
                <a:gd name="T2" fmla="*/ 653 w 10464"/>
                <a:gd name="T3" fmla="*/ 3488 h 3488"/>
                <a:gd name="T4" fmla="*/ 1307 w 10464"/>
                <a:gd name="T5" fmla="*/ 3488 h 3488"/>
                <a:gd name="T6" fmla="*/ 1962 w 10464"/>
                <a:gd name="T7" fmla="*/ 3488 h 3488"/>
                <a:gd name="T8" fmla="*/ 2616 w 10464"/>
                <a:gd name="T9" fmla="*/ 3488 h 3488"/>
                <a:gd name="T10" fmla="*/ 3269 w 10464"/>
                <a:gd name="T11" fmla="*/ 3488 h 3488"/>
                <a:gd name="T12" fmla="*/ 3923 w 10464"/>
                <a:gd name="T13" fmla="*/ 3488 h 3488"/>
                <a:gd name="T14" fmla="*/ 4578 w 10464"/>
                <a:gd name="T15" fmla="*/ 3488 h 3488"/>
                <a:gd name="T16" fmla="*/ 5232 w 10464"/>
                <a:gd name="T17" fmla="*/ 3488 h 3488"/>
                <a:gd name="T18" fmla="*/ 5885 w 10464"/>
                <a:gd name="T19" fmla="*/ 3488 h 3488"/>
                <a:gd name="T20" fmla="*/ 6539 w 10464"/>
                <a:gd name="T21" fmla="*/ 3488 h 3488"/>
                <a:gd name="T22" fmla="*/ 7193 w 10464"/>
                <a:gd name="T23" fmla="*/ 3488 h 3488"/>
                <a:gd name="T24" fmla="*/ 7848 w 10464"/>
                <a:gd name="T25" fmla="*/ 3488 h 3488"/>
                <a:gd name="T26" fmla="*/ 8501 w 10464"/>
                <a:gd name="T27" fmla="*/ 3488 h 3488"/>
                <a:gd name="T28" fmla="*/ 9155 w 10464"/>
                <a:gd name="T29" fmla="*/ 3488 h 3488"/>
                <a:gd name="T30" fmla="*/ 9809 w 10464"/>
                <a:gd name="T31" fmla="*/ 3488 h 3488"/>
                <a:gd name="T32" fmla="*/ 10464 w 10464"/>
                <a:gd name="T33" fmla="*/ 3488 h 3488"/>
                <a:gd name="T34" fmla="*/ 10464 w 10464"/>
                <a:gd name="T35" fmla="*/ 2616 h 3488"/>
                <a:gd name="T36" fmla="*/ 10464 w 10464"/>
                <a:gd name="T37" fmla="*/ 1744 h 3488"/>
                <a:gd name="T38" fmla="*/ 10464 w 10464"/>
                <a:gd name="T39" fmla="*/ 872 h 3488"/>
                <a:gd name="T40" fmla="*/ 10464 w 10464"/>
                <a:gd name="T41" fmla="*/ 0 h 3488"/>
                <a:gd name="T42" fmla="*/ 9809 w 10464"/>
                <a:gd name="T43" fmla="*/ 0 h 3488"/>
                <a:gd name="T44" fmla="*/ 9155 w 10464"/>
                <a:gd name="T45" fmla="*/ 0 h 3488"/>
                <a:gd name="T46" fmla="*/ 8501 w 10464"/>
                <a:gd name="T47" fmla="*/ 0 h 3488"/>
                <a:gd name="T48" fmla="*/ 7848 w 10464"/>
                <a:gd name="T49" fmla="*/ 0 h 3488"/>
                <a:gd name="T50" fmla="*/ 7193 w 10464"/>
                <a:gd name="T51" fmla="*/ 0 h 3488"/>
                <a:gd name="T52" fmla="*/ 6539 w 10464"/>
                <a:gd name="T53" fmla="*/ 0 h 3488"/>
                <a:gd name="T54" fmla="*/ 5885 w 10464"/>
                <a:gd name="T55" fmla="*/ 0 h 3488"/>
                <a:gd name="T56" fmla="*/ 5232 w 10464"/>
                <a:gd name="T57" fmla="*/ 0 h 3488"/>
                <a:gd name="T58" fmla="*/ 4578 w 10464"/>
                <a:gd name="T59" fmla="*/ 0 h 3488"/>
                <a:gd name="T60" fmla="*/ 3923 w 10464"/>
                <a:gd name="T61" fmla="*/ 0 h 3488"/>
                <a:gd name="T62" fmla="*/ 3269 w 10464"/>
                <a:gd name="T63" fmla="*/ 0 h 3488"/>
                <a:gd name="T64" fmla="*/ 2616 w 10464"/>
                <a:gd name="T65" fmla="*/ 0 h 3488"/>
                <a:gd name="T66" fmla="*/ 1962 w 10464"/>
                <a:gd name="T67" fmla="*/ 0 h 3488"/>
                <a:gd name="T68" fmla="*/ 1307 w 10464"/>
                <a:gd name="T69" fmla="*/ 0 h 3488"/>
                <a:gd name="T70" fmla="*/ 653 w 10464"/>
                <a:gd name="T71" fmla="*/ 0 h 3488"/>
                <a:gd name="T72" fmla="*/ 0 w 10464"/>
                <a:gd name="T73" fmla="*/ 0 h 3488"/>
                <a:gd name="T74" fmla="*/ 0 w 10464"/>
                <a:gd name="T75" fmla="*/ 872 h 3488"/>
                <a:gd name="T76" fmla="*/ 0 w 10464"/>
                <a:gd name="T77" fmla="*/ 1744 h 3488"/>
                <a:gd name="T78" fmla="*/ 0 w 10464"/>
                <a:gd name="T79" fmla="*/ 2616 h 3488"/>
                <a:gd name="T80" fmla="*/ 0 w 10464"/>
                <a:gd name="T81" fmla="*/ 3488 h 3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0464" h="3488">
                  <a:moveTo>
                    <a:pt x="0" y="3488"/>
                  </a:moveTo>
                  <a:lnTo>
                    <a:pt x="653" y="3488"/>
                  </a:lnTo>
                  <a:lnTo>
                    <a:pt x="1307" y="3488"/>
                  </a:lnTo>
                  <a:lnTo>
                    <a:pt x="1962" y="3488"/>
                  </a:lnTo>
                  <a:lnTo>
                    <a:pt x="2616" y="3488"/>
                  </a:lnTo>
                  <a:lnTo>
                    <a:pt x="3269" y="3488"/>
                  </a:lnTo>
                  <a:lnTo>
                    <a:pt x="3923" y="3488"/>
                  </a:lnTo>
                  <a:lnTo>
                    <a:pt x="4578" y="3488"/>
                  </a:lnTo>
                  <a:lnTo>
                    <a:pt x="5232" y="3488"/>
                  </a:lnTo>
                  <a:lnTo>
                    <a:pt x="5885" y="3488"/>
                  </a:lnTo>
                  <a:lnTo>
                    <a:pt x="6539" y="3488"/>
                  </a:lnTo>
                  <a:lnTo>
                    <a:pt x="7193" y="3488"/>
                  </a:lnTo>
                  <a:lnTo>
                    <a:pt x="7848" y="3488"/>
                  </a:lnTo>
                  <a:lnTo>
                    <a:pt x="8501" y="3488"/>
                  </a:lnTo>
                  <a:lnTo>
                    <a:pt x="9155" y="3488"/>
                  </a:lnTo>
                  <a:lnTo>
                    <a:pt x="9809" y="3488"/>
                  </a:lnTo>
                  <a:lnTo>
                    <a:pt x="10464" y="3488"/>
                  </a:lnTo>
                  <a:lnTo>
                    <a:pt x="10464" y="2616"/>
                  </a:lnTo>
                  <a:lnTo>
                    <a:pt x="10464" y="1744"/>
                  </a:lnTo>
                  <a:lnTo>
                    <a:pt x="10464" y="872"/>
                  </a:lnTo>
                  <a:lnTo>
                    <a:pt x="10464" y="0"/>
                  </a:lnTo>
                  <a:lnTo>
                    <a:pt x="9809" y="0"/>
                  </a:lnTo>
                  <a:lnTo>
                    <a:pt x="9155" y="0"/>
                  </a:lnTo>
                  <a:lnTo>
                    <a:pt x="8501" y="0"/>
                  </a:lnTo>
                  <a:lnTo>
                    <a:pt x="7848" y="0"/>
                  </a:lnTo>
                  <a:lnTo>
                    <a:pt x="7193" y="0"/>
                  </a:lnTo>
                  <a:lnTo>
                    <a:pt x="6539" y="0"/>
                  </a:lnTo>
                  <a:lnTo>
                    <a:pt x="5885" y="0"/>
                  </a:lnTo>
                  <a:lnTo>
                    <a:pt x="5232" y="0"/>
                  </a:lnTo>
                  <a:lnTo>
                    <a:pt x="4578" y="0"/>
                  </a:lnTo>
                  <a:lnTo>
                    <a:pt x="3923" y="0"/>
                  </a:lnTo>
                  <a:lnTo>
                    <a:pt x="3269" y="0"/>
                  </a:lnTo>
                  <a:lnTo>
                    <a:pt x="2616" y="0"/>
                  </a:lnTo>
                  <a:lnTo>
                    <a:pt x="1962" y="0"/>
                  </a:lnTo>
                  <a:lnTo>
                    <a:pt x="1307" y="0"/>
                  </a:lnTo>
                  <a:lnTo>
                    <a:pt x="653" y="0"/>
                  </a:lnTo>
                  <a:lnTo>
                    <a:pt x="0" y="0"/>
                  </a:lnTo>
                  <a:lnTo>
                    <a:pt x="0" y="872"/>
                  </a:lnTo>
                  <a:lnTo>
                    <a:pt x="0" y="1744"/>
                  </a:lnTo>
                  <a:lnTo>
                    <a:pt x="0" y="2616"/>
                  </a:lnTo>
                  <a:lnTo>
                    <a:pt x="0" y="3488"/>
                  </a:lnTo>
                  <a:close/>
                </a:path>
              </a:pathLst>
            </a:custGeom>
            <a:solidFill>
              <a:srgbClr val="5AC3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2" name="Freeform 7"/>
            <p:cNvSpPr>
              <a:spLocks noEditPoints="1"/>
            </p:cNvSpPr>
            <p:nvPr userDrawn="1"/>
          </p:nvSpPr>
          <p:spPr bwMode="auto">
            <a:xfrm>
              <a:off x="10419386" y="6306922"/>
              <a:ext cx="1218166" cy="286381"/>
            </a:xfrm>
            <a:custGeom>
              <a:avLst/>
              <a:gdLst>
                <a:gd name="T0" fmla="*/ 3454 w 8720"/>
                <a:gd name="T1" fmla="*/ 1049 h 2050"/>
                <a:gd name="T2" fmla="*/ 3166 w 8720"/>
                <a:gd name="T3" fmla="*/ 1051 h 2050"/>
                <a:gd name="T4" fmla="*/ 3068 w 8720"/>
                <a:gd name="T5" fmla="*/ 1409 h 2050"/>
                <a:gd name="T6" fmla="*/ 3261 w 8720"/>
                <a:gd name="T7" fmla="*/ 1675 h 2050"/>
                <a:gd name="T8" fmla="*/ 3519 w 8720"/>
                <a:gd name="T9" fmla="*/ 1539 h 2050"/>
                <a:gd name="T10" fmla="*/ 3863 w 8720"/>
                <a:gd name="T11" fmla="*/ 1565 h 2050"/>
                <a:gd name="T12" fmla="*/ 3603 w 8720"/>
                <a:gd name="T13" fmla="*/ 1898 h 2050"/>
                <a:gd name="T14" fmla="*/ 3188 w 8720"/>
                <a:gd name="T15" fmla="*/ 1959 h 2050"/>
                <a:gd name="T16" fmla="*/ 2786 w 8720"/>
                <a:gd name="T17" fmla="*/ 1655 h 2050"/>
                <a:gd name="T18" fmla="*/ 2732 w 8720"/>
                <a:gd name="T19" fmla="*/ 1207 h 2050"/>
                <a:gd name="T20" fmla="*/ 3018 w 8720"/>
                <a:gd name="T21" fmla="*/ 786 h 2050"/>
                <a:gd name="T22" fmla="*/ 3503 w 8720"/>
                <a:gd name="T23" fmla="*/ 740 h 2050"/>
                <a:gd name="T24" fmla="*/ 3857 w 8720"/>
                <a:gd name="T25" fmla="*/ 1088 h 2050"/>
                <a:gd name="T26" fmla="*/ 4586 w 8720"/>
                <a:gd name="T27" fmla="*/ 1045 h 2050"/>
                <a:gd name="T28" fmla="*/ 4361 w 8720"/>
                <a:gd name="T29" fmla="*/ 1327 h 2050"/>
                <a:gd name="T30" fmla="*/ 4391 w 8720"/>
                <a:gd name="T31" fmla="*/ 895 h 2050"/>
                <a:gd name="T32" fmla="*/ 4703 w 8720"/>
                <a:gd name="T33" fmla="*/ 728 h 2050"/>
                <a:gd name="T34" fmla="*/ 5384 w 8720"/>
                <a:gd name="T35" fmla="*/ 1679 h 2050"/>
                <a:gd name="T36" fmla="*/ 5258 w 8720"/>
                <a:gd name="T37" fmla="*/ 1026 h 2050"/>
                <a:gd name="T38" fmla="*/ 4962 w 8720"/>
                <a:gd name="T39" fmla="*/ 1758 h 2050"/>
                <a:gd name="T40" fmla="*/ 5374 w 8720"/>
                <a:gd name="T41" fmla="*/ 1960 h 2050"/>
                <a:gd name="T42" fmla="*/ 6441 w 8720"/>
                <a:gd name="T43" fmla="*/ 1538 h 2050"/>
                <a:gd name="T44" fmla="*/ 6231 w 8720"/>
                <a:gd name="T45" fmla="*/ 1676 h 2050"/>
                <a:gd name="T46" fmla="*/ 6056 w 8720"/>
                <a:gd name="T47" fmla="*/ 1487 h 2050"/>
                <a:gd name="T48" fmla="*/ 5746 w 8720"/>
                <a:gd name="T49" fmla="*/ 1671 h 2050"/>
                <a:gd name="T50" fmla="*/ 5949 w 8720"/>
                <a:gd name="T51" fmla="*/ 1899 h 2050"/>
                <a:gd name="T52" fmla="*/ 6505 w 8720"/>
                <a:gd name="T53" fmla="*/ 1921 h 2050"/>
                <a:gd name="T54" fmla="*/ 6769 w 8720"/>
                <a:gd name="T55" fmla="*/ 1628 h 2050"/>
                <a:gd name="T56" fmla="*/ 8698 w 8720"/>
                <a:gd name="T57" fmla="*/ 985 h 2050"/>
                <a:gd name="T58" fmla="*/ 8484 w 8720"/>
                <a:gd name="T59" fmla="*/ 747 h 2050"/>
                <a:gd name="T60" fmla="*/ 8083 w 8720"/>
                <a:gd name="T61" fmla="*/ 806 h 2050"/>
                <a:gd name="T62" fmla="*/ 7885 w 8720"/>
                <a:gd name="T63" fmla="*/ 840 h 2050"/>
                <a:gd name="T64" fmla="*/ 7630 w 8720"/>
                <a:gd name="T65" fmla="*/ 721 h 2050"/>
                <a:gd name="T66" fmla="*/ 7324 w 8720"/>
                <a:gd name="T67" fmla="*/ 871 h 2050"/>
                <a:gd name="T68" fmla="*/ 7270 w 8720"/>
                <a:gd name="T69" fmla="*/ 1283 h 2050"/>
                <a:gd name="T70" fmla="*/ 7447 w 8720"/>
                <a:gd name="T71" fmla="*/ 1034 h 2050"/>
                <a:gd name="T72" fmla="*/ 7645 w 8720"/>
                <a:gd name="T73" fmla="*/ 1211 h 2050"/>
                <a:gd name="T74" fmla="*/ 8034 w 8720"/>
                <a:gd name="T75" fmla="*/ 1138 h 2050"/>
                <a:gd name="T76" fmla="*/ 8289 w 8720"/>
                <a:gd name="T77" fmla="*/ 1046 h 2050"/>
                <a:gd name="T78" fmla="*/ 8377 w 8720"/>
                <a:gd name="T79" fmla="*/ 1938 h 2050"/>
                <a:gd name="T80" fmla="*/ 2458 w 8720"/>
                <a:gd name="T81" fmla="*/ 483 h 2050"/>
                <a:gd name="T82" fmla="*/ 2107 w 8720"/>
                <a:gd name="T83" fmla="*/ 1483 h 2050"/>
                <a:gd name="T84" fmla="*/ 2152 w 8720"/>
                <a:gd name="T85" fmla="*/ 299 h 2050"/>
                <a:gd name="T86" fmla="*/ 2419 w 8720"/>
                <a:gd name="T87" fmla="*/ 83 h 2050"/>
                <a:gd name="T88" fmla="*/ 2622 w 8720"/>
                <a:gd name="T89" fmla="*/ 369 h 2050"/>
                <a:gd name="T90" fmla="*/ 1130 w 8720"/>
                <a:gd name="T91" fmla="*/ 2050 h 2050"/>
                <a:gd name="T92" fmla="*/ 570 w 8720"/>
                <a:gd name="T93" fmla="*/ 1915 h 2050"/>
                <a:gd name="T94" fmla="*/ 120 w 8720"/>
                <a:gd name="T95" fmla="*/ 1452 h 2050"/>
                <a:gd name="T96" fmla="*/ 8 w 8720"/>
                <a:gd name="T97" fmla="*/ 822 h 2050"/>
                <a:gd name="T98" fmla="*/ 222 w 8720"/>
                <a:gd name="T99" fmla="*/ 289 h 2050"/>
                <a:gd name="T100" fmla="*/ 690 w 8720"/>
                <a:gd name="T101" fmla="*/ 389 h 2050"/>
                <a:gd name="T102" fmla="*/ 424 w 8720"/>
                <a:gd name="T103" fmla="*/ 782 h 2050"/>
                <a:gd name="T104" fmla="*/ 460 w 8720"/>
                <a:gd name="T105" fmla="*/ 1242 h 2050"/>
                <a:gd name="T106" fmla="*/ 783 w 8720"/>
                <a:gd name="T107" fmla="*/ 1573 h 2050"/>
                <a:gd name="T108" fmla="*/ 1246 w 8720"/>
                <a:gd name="T109" fmla="*/ 1632 h 2050"/>
                <a:gd name="T110" fmla="*/ 745 w 8720"/>
                <a:gd name="T111" fmla="*/ 1453 h 2050"/>
                <a:gd name="T112" fmla="*/ 1347 w 8720"/>
                <a:gd name="T113" fmla="*/ 1509 h 2050"/>
                <a:gd name="T114" fmla="*/ 1693 w 8720"/>
                <a:gd name="T115" fmla="*/ 1099 h 2050"/>
                <a:gd name="T116" fmla="*/ 1523 w 8720"/>
                <a:gd name="T117" fmla="*/ 505 h 2050"/>
                <a:gd name="T118" fmla="*/ 1152 w 8720"/>
                <a:gd name="T119" fmla="*/ 342 h 2050"/>
                <a:gd name="T120" fmla="*/ 691 w 8720"/>
                <a:gd name="T121" fmla="*/ 497 h 2050"/>
                <a:gd name="T122" fmla="*/ 491 w 8720"/>
                <a:gd name="T123" fmla="*/ 1037 h 2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720" h="2050">
                  <a:moveTo>
                    <a:pt x="3554" y="1338"/>
                  </a:moveTo>
                  <a:lnTo>
                    <a:pt x="3553" y="1299"/>
                  </a:lnTo>
                  <a:lnTo>
                    <a:pt x="3550" y="1263"/>
                  </a:lnTo>
                  <a:lnTo>
                    <a:pt x="3546" y="1228"/>
                  </a:lnTo>
                  <a:lnTo>
                    <a:pt x="3538" y="1196"/>
                  </a:lnTo>
                  <a:lnTo>
                    <a:pt x="3529" y="1165"/>
                  </a:lnTo>
                  <a:lnTo>
                    <a:pt x="3518" y="1137"/>
                  </a:lnTo>
                  <a:lnTo>
                    <a:pt x="3511" y="1124"/>
                  </a:lnTo>
                  <a:lnTo>
                    <a:pt x="3504" y="1112"/>
                  </a:lnTo>
                  <a:lnTo>
                    <a:pt x="3490" y="1088"/>
                  </a:lnTo>
                  <a:lnTo>
                    <a:pt x="3473" y="1068"/>
                  </a:lnTo>
                  <a:lnTo>
                    <a:pt x="3454" y="1049"/>
                  </a:lnTo>
                  <a:lnTo>
                    <a:pt x="3436" y="1034"/>
                  </a:lnTo>
                  <a:lnTo>
                    <a:pt x="3413" y="1022"/>
                  </a:lnTo>
                  <a:lnTo>
                    <a:pt x="3390" y="1012"/>
                  </a:lnTo>
                  <a:lnTo>
                    <a:pt x="3366" y="1004"/>
                  </a:lnTo>
                  <a:lnTo>
                    <a:pt x="3339" y="1000"/>
                  </a:lnTo>
                  <a:lnTo>
                    <a:pt x="3311" y="998"/>
                  </a:lnTo>
                  <a:lnTo>
                    <a:pt x="3283" y="1000"/>
                  </a:lnTo>
                  <a:lnTo>
                    <a:pt x="3257" y="1004"/>
                  </a:lnTo>
                  <a:lnTo>
                    <a:pt x="3232" y="1012"/>
                  </a:lnTo>
                  <a:lnTo>
                    <a:pt x="3209" y="1022"/>
                  </a:lnTo>
                  <a:lnTo>
                    <a:pt x="3187" y="1035"/>
                  </a:lnTo>
                  <a:lnTo>
                    <a:pt x="3166" y="1051"/>
                  </a:lnTo>
                  <a:lnTo>
                    <a:pt x="3148" y="1069"/>
                  </a:lnTo>
                  <a:lnTo>
                    <a:pt x="3130" y="1091"/>
                  </a:lnTo>
                  <a:lnTo>
                    <a:pt x="3116" y="1114"/>
                  </a:lnTo>
                  <a:lnTo>
                    <a:pt x="3102" y="1139"/>
                  </a:lnTo>
                  <a:lnTo>
                    <a:pt x="3090" y="1167"/>
                  </a:lnTo>
                  <a:lnTo>
                    <a:pt x="3081" y="1197"/>
                  </a:lnTo>
                  <a:lnTo>
                    <a:pt x="3073" y="1228"/>
                  </a:lnTo>
                  <a:lnTo>
                    <a:pt x="3068" y="1263"/>
                  </a:lnTo>
                  <a:lnTo>
                    <a:pt x="3065" y="1298"/>
                  </a:lnTo>
                  <a:lnTo>
                    <a:pt x="3063" y="1336"/>
                  </a:lnTo>
                  <a:lnTo>
                    <a:pt x="3065" y="1374"/>
                  </a:lnTo>
                  <a:lnTo>
                    <a:pt x="3068" y="1409"/>
                  </a:lnTo>
                  <a:lnTo>
                    <a:pt x="3073" y="1444"/>
                  </a:lnTo>
                  <a:lnTo>
                    <a:pt x="3081" y="1477"/>
                  </a:lnTo>
                  <a:lnTo>
                    <a:pt x="3091" y="1507"/>
                  </a:lnTo>
                  <a:lnTo>
                    <a:pt x="3102" y="1536"/>
                  </a:lnTo>
                  <a:lnTo>
                    <a:pt x="3117" y="1562"/>
                  </a:lnTo>
                  <a:lnTo>
                    <a:pt x="3132" y="1586"/>
                  </a:lnTo>
                  <a:lnTo>
                    <a:pt x="3149" y="1607"/>
                  </a:lnTo>
                  <a:lnTo>
                    <a:pt x="3169" y="1626"/>
                  </a:lnTo>
                  <a:lnTo>
                    <a:pt x="3189" y="1643"/>
                  </a:lnTo>
                  <a:lnTo>
                    <a:pt x="3211" y="1656"/>
                  </a:lnTo>
                  <a:lnTo>
                    <a:pt x="3236" y="1667"/>
                  </a:lnTo>
                  <a:lnTo>
                    <a:pt x="3261" y="1675"/>
                  </a:lnTo>
                  <a:lnTo>
                    <a:pt x="3288" y="1679"/>
                  </a:lnTo>
                  <a:lnTo>
                    <a:pt x="3317" y="1680"/>
                  </a:lnTo>
                  <a:lnTo>
                    <a:pt x="3343" y="1679"/>
                  </a:lnTo>
                  <a:lnTo>
                    <a:pt x="3369" y="1675"/>
                  </a:lnTo>
                  <a:lnTo>
                    <a:pt x="3393" y="1667"/>
                  </a:lnTo>
                  <a:lnTo>
                    <a:pt x="3417" y="1657"/>
                  </a:lnTo>
                  <a:lnTo>
                    <a:pt x="3438" y="1644"/>
                  </a:lnTo>
                  <a:lnTo>
                    <a:pt x="3458" y="1628"/>
                  </a:lnTo>
                  <a:lnTo>
                    <a:pt x="3476" y="1609"/>
                  </a:lnTo>
                  <a:lnTo>
                    <a:pt x="3491" y="1588"/>
                  </a:lnTo>
                  <a:lnTo>
                    <a:pt x="3506" y="1565"/>
                  </a:lnTo>
                  <a:lnTo>
                    <a:pt x="3519" y="1539"/>
                  </a:lnTo>
                  <a:lnTo>
                    <a:pt x="3529" y="1512"/>
                  </a:lnTo>
                  <a:lnTo>
                    <a:pt x="3538" y="1480"/>
                  </a:lnTo>
                  <a:lnTo>
                    <a:pt x="3546" y="1448"/>
                  </a:lnTo>
                  <a:lnTo>
                    <a:pt x="3550" y="1414"/>
                  </a:lnTo>
                  <a:lnTo>
                    <a:pt x="3553" y="1377"/>
                  </a:lnTo>
                  <a:lnTo>
                    <a:pt x="3554" y="1338"/>
                  </a:lnTo>
                  <a:close/>
                  <a:moveTo>
                    <a:pt x="3897" y="1340"/>
                  </a:moveTo>
                  <a:lnTo>
                    <a:pt x="3893" y="1408"/>
                  </a:lnTo>
                  <a:lnTo>
                    <a:pt x="3885" y="1474"/>
                  </a:lnTo>
                  <a:lnTo>
                    <a:pt x="3880" y="1505"/>
                  </a:lnTo>
                  <a:lnTo>
                    <a:pt x="3872" y="1536"/>
                  </a:lnTo>
                  <a:lnTo>
                    <a:pt x="3863" y="1565"/>
                  </a:lnTo>
                  <a:lnTo>
                    <a:pt x="3853" y="1595"/>
                  </a:lnTo>
                  <a:lnTo>
                    <a:pt x="3843" y="1623"/>
                  </a:lnTo>
                  <a:lnTo>
                    <a:pt x="3831" y="1649"/>
                  </a:lnTo>
                  <a:lnTo>
                    <a:pt x="3803" y="1701"/>
                  </a:lnTo>
                  <a:lnTo>
                    <a:pt x="3771" y="1749"/>
                  </a:lnTo>
                  <a:lnTo>
                    <a:pt x="3753" y="1773"/>
                  </a:lnTo>
                  <a:lnTo>
                    <a:pt x="3734" y="1794"/>
                  </a:lnTo>
                  <a:lnTo>
                    <a:pt x="3716" y="1814"/>
                  </a:lnTo>
                  <a:lnTo>
                    <a:pt x="3694" y="1834"/>
                  </a:lnTo>
                  <a:lnTo>
                    <a:pt x="3650" y="1868"/>
                  </a:lnTo>
                  <a:lnTo>
                    <a:pt x="3627" y="1884"/>
                  </a:lnTo>
                  <a:lnTo>
                    <a:pt x="3603" y="1898"/>
                  </a:lnTo>
                  <a:lnTo>
                    <a:pt x="3552" y="1924"/>
                  </a:lnTo>
                  <a:lnTo>
                    <a:pt x="3526" y="1935"/>
                  </a:lnTo>
                  <a:lnTo>
                    <a:pt x="3498" y="1944"/>
                  </a:lnTo>
                  <a:lnTo>
                    <a:pt x="3470" y="1951"/>
                  </a:lnTo>
                  <a:lnTo>
                    <a:pt x="3441" y="1958"/>
                  </a:lnTo>
                  <a:lnTo>
                    <a:pt x="3411" y="1964"/>
                  </a:lnTo>
                  <a:lnTo>
                    <a:pt x="3381" y="1967"/>
                  </a:lnTo>
                  <a:lnTo>
                    <a:pt x="3319" y="1970"/>
                  </a:lnTo>
                  <a:lnTo>
                    <a:pt x="3285" y="1969"/>
                  </a:lnTo>
                  <a:lnTo>
                    <a:pt x="3252" y="1967"/>
                  </a:lnTo>
                  <a:lnTo>
                    <a:pt x="3220" y="1964"/>
                  </a:lnTo>
                  <a:lnTo>
                    <a:pt x="3188" y="1959"/>
                  </a:lnTo>
                  <a:lnTo>
                    <a:pt x="3158" y="1953"/>
                  </a:lnTo>
                  <a:lnTo>
                    <a:pt x="3128" y="1945"/>
                  </a:lnTo>
                  <a:lnTo>
                    <a:pt x="3071" y="1926"/>
                  </a:lnTo>
                  <a:lnTo>
                    <a:pt x="3018" y="1901"/>
                  </a:lnTo>
                  <a:lnTo>
                    <a:pt x="2993" y="1887"/>
                  </a:lnTo>
                  <a:lnTo>
                    <a:pt x="2969" y="1871"/>
                  </a:lnTo>
                  <a:lnTo>
                    <a:pt x="2924" y="1837"/>
                  </a:lnTo>
                  <a:lnTo>
                    <a:pt x="2882" y="1798"/>
                  </a:lnTo>
                  <a:lnTo>
                    <a:pt x="2864" y="1777"/>
                  </a:lnTo>
                  <a:lnTo>
                    <a:pt x="2846" y="1755"/>
                  </a:lnTo>
                  <a:lnTo>
                    <a:pt x="2814" y="1707"/>
                  </a:lnTo>
                  <a:lnTo>
                    <a:pt x="2786" y="1655"/>
                  </a:lnTo>
                  <a:lnTo>
                    <a:pt x="2775" y="1627"/>
                  </a:lnTo>
                  <a:lnTo>
                    <a:pt x="2764" y="1598"/>
                  </a:lnTo>
                  <a:lnTo>
                    <a:pt x="2754" y="1569"/>
                  </a:lnTo>
                  <a:lnTo>
                    <a:pt x="2746" y="1538"/>
                  </a:lnTo>
                  <a:lnTo>
                    <a:pt x="2738" y="1507"/>
                  </a:lnTo>
                  <a:lnTo>
                    <a:pt x="2732" y="1474"/>
                  </a:lnTo>
                  <a:lnTo>
                    <a:pt x="2728" y="1440"/>
                  </a:lnTo>
                  <a:lnTo>
                    <a:pt x="2725" y="1407"/>
                  </a:lnTo>
                  <a:lnTo>
                    <a:pt x="2722" y="1372"/>
                  </a:lnTo>
                  <a:lnTo>
                    <a:pt x="2721" y="1336"/>
                  </a:lnTo>
                  <a:lnTo>
                    <a:pt x="2725" y="1271"/>
                  </a:lnTo>
                  <a:lnTo>
                    <a:pt x="2732" y="1207"/>
                  </a:lnTo>
                  <a:lnTo>
                    <a:pt x="2738" y="1177"/>
                  </a:lnTo>
                  <a:lnTo>
                    <a:pt x="2746" y="1147"/>
                  </a:lnTo>
                  <a:lnTo>
                    <a:pt x="2764" y="1089"/>
                  </a:lnTo>
                  <a:lnTo>
                    <a:pt x="2775" y="1062"/>
                  </a:lnTo>
                  <a:lnTo>
                    <a:pt x="2787" y="1035"/>
                  </a:lnTo>
                  <a:lnTo>
                    <a:pt x="2815" y="983"/>
                  </a:lnTo>
                  <a:lnTo>
                    <a:pt x="2847" y="936"/>
                  </a:lnTo>
                  <a:lnTo>
                    <a:pt x="2865" y="913"/>
                  </a:lnTo>
                  <a:lnTo>
                    <a:pt x="2884" y="892"/>
                  </a:lnTo>
                  <a:lnTo>
                    <a:pt x="2925" y="852"/>
                  </a:lnTo>
                  <a:lnTo>
                    <a:pt x="2969" y="817"/>
                  </a:lnTo>
                  <a:lnTo>
                    <a:pt x="3018" y="786"/>
                  </a:lnTo>
                  <a:lnTo>
                    <a:pt x="3070" y="761"/>
                  </a:lnTo>
                  <a:lnTo>
                    <a:pt x="3098" y="750"/>
                  </a:lnTo>
                  <a:lnTo>
                    <a:pt x="3126" y="741"/>
                  </a:lnTo>
                  <a:lnTo>
                    <a:pt x="3155" y="732"/>
                  </a:lnTo>
                  <a:lnTo>
                    <a:pt x="3185" y="725"/>
                  </a:lnTo>
                  <a:lnTo>
                    <a:pt x="3216" y="721"/>
                  </a:lnTo>
                  <a:lnTo>
                    <a:pt x="3247" y="716"/>
                  </a:lnTo>
                  <a:lnTo>
                    <a:pt x="3311" y="713"/>
                  </a:lnTo>
                  <a:lnTo>
                    <a:pt x="3379" y="716"/>
                  </a:lnTo>
                  <a:lnTo>
                    <a:pt x="3411" y="720"/>
                  </a:lnTo>
                  <a:lnTo>
                    <a:pt x="3443" y="725"/>
                  </a:lnTo>
                  <a:lnTo>
                    <a:pt x="3503" y="740"/>
                  </a:lnTo>
                  <a:lnTo>
                    <a:pt x="3559" y="760"/>
                  </a:lnTo>
                  <a:lnTo>
                    <a:pt x="3586" y="772"/>
                  </a:lnTo>
                  <a:lnTo>
                    <a:pt x="3611" y="785"/>
                  </a:lnTo>
                  <a:lnTo>
                    <a:pt x="3636" y="800"/>
                  </a:lnTo>
                  <a:lnTo>
                    <a:pt x="3660" y="815"/>
                  </a:lnTo>
                  <a:lnTo>
                    <a:pt x="3703" y="851"/>
                  </a:lnTo>
                  <a:lnTo>
                    <a:pt x="3723" y="870"/>
                  </a:lnTo>
                  <a:lnTo>
                    <a:pt x="3743" y="890"/>
                  </a:lnTo>
                  <a:lnTo>
                    <a:pt x="3778" y="934"/>
                  </a:lnTo>
                  <a:lnTo>
                    <a:pt x="3809" y="982"/>
                  </a:lnTo>
                  <a:lnTo>
                    <a:pt x="3835" y="1033"/>
                  </a:lnTo>
                  <a:lnTo>
                    <a:pt x="3857" y="1088"/>
                  </a:lnTo>
                  <a:lnTo>
                    <a:pt x="3867" y="1117"/>
                  </a:lnTo>
                  <a:lnTo>
                    <a:pt x="3874" y="1147"/>
                  </a:lnTo>
                  <a:lnTo>
                    <a:pt x="3887" y="1208"/>
                  </a:lnTo>
                  <a:lnTo>
                    <a:pt x="3894" y="1273"/>
                  </a:lnTo>
                  <a:lnTo>
                    <a:pt x="3897" y="1340"/>
                  </a:lnTo>
                  <a:close/>
                  <a:moveTo>
                    <a:pt x="4810" y="1073"/>
                  </a:moveTo>
                  <a:lnTo>
                    <a:pt x="4769" y="1056"/>
                  </a:lnTo>
                  <a:lnTo>
                    <a:pt x="4732" y="1045"/>
                  </a:lnTo>
                  <a:lnTo>
                    <a:pt x="4694" y="1039"/>
                  </a:lnTo>
                  <a:lnTo>
                    <a:pt x="4653" y="1038"/>
                  </a:lnTo>
                  <a:lnTo>
                    <a:pt x="4619" y="1039"/>
                  </a:lnTo>
                  <a:lnTo>
                    <a:pt x="4586" y="1045"/>
                  </a:lnTo>
                  <a:lnTo>
                    <a:pt x="4555" y="1053"/>
                  </a:lnTo>
                  <a:lnTo>
                    <a:pt x="4526" y="1064"/>
                  </a:lnTo>
                  <a:lnTo>
                    <a:pt x="4501" y="1078"/>
                  </a:lnTo>
                  <a:lnTo>
                    <a:pt x="4476" y="1095"/>
                  </a:lnTo>
                  <a:lnTo>
                    <a:pt x="4453" y="1115"/>
                  </a:lnTo>
                  <a:lnTo>
                    <a:pt x="4433" y="1137"/>
                  </a:lnTo>
                  <a:lnTo>
                    <a:pt x="4415" y="1163"/>
                  </a:lnTo>
                  <a:lnTo>
                    <a:pt x="4400" y="1191"/>
                  </a:lnTo>
                  <a:lnTo>
                    <a:pt x="4386" y="1222"/>
                  </a:lnTo>
                  <a:lnTo>
                    <a:pt x="4375" y="1254"/>
                  </a:lnTo>
                  <a:lnTo>
                    <a:pt x="4366" y="1289"/>
                  </a:lnTo>
                  <a:lnTo>
                    <a:pt x="4361" y="1327"/>
                  </a:lnTo>
                  <a:lnTo>
                    <a:pt x="4356" y="1367"/>
                  </a:lnTo>
                  <a:lnTo>
                    <a:pt x="4355" y="1408"/>
                  </a:lnTo>
                  <a:lnTo>
                    <a:pt x="4355" y="1938"/>
                  </a:lnTo>
                  <a:lnTo>
                    <a:pt x="4017" y="1938"/>
                  </a:lnTo>
                  <a:lnTo>
                    <a:pt x="4017" y="1342"/>
                  </a:lnTo>
                  <a:lnTo>
                    <a:pt x="4017" y="746"/>
                  </a:lnTo>
                  <a:lnTo>
                    <a:pt x="4343" y="746"/>
                  </a:lnTo>
                  <a:lnTo>
                    <a:pt x="4343" y="1017"/>
                  </a:lnTo>
                  <a:lnTo>
                    <a:pt x="4352" y="984"/>
                  </a:lnTo>
                  <a:lnTo>
                    <a:pt x="4363" y="953"/>
                  </a:lnTo>
                  <a:lnTo>
                    <a:pt x="4375" y="923"/>
                  </a:lnTo>
                  <a:lnTo>
                    <a:pt x="4391" y="895"/>
                  </a:lnTo>
                  <a:lnTo>
                    <a:pt x="4408" y="870"/>
                  </a:lnTo>
                  <a:lnTo>
                    <a:pt x="4425" y="846"/>
                  </a:lnTo>
                  <a:lnTo>
                    <a:pt x="4446" y="824"/>
                  </a:lnTo>
                  <a:lnTo>
                    <a:pt x="4468" y="805"/>
                  </a:lnTo>
                  <a:lnTo>
                    <a:pt x="4492" y="787"/>
                  </a:lnTo>
                  <a:lnTo>
                    <a:pt x="4517" y="772"/>
                  </a:lnTo>
                  <a:lnTo>
                    <a:pt x="4544" y="758"/>
                  </a:lnTo>
                  <a:lnTo>
                    <a:pt x="4573" y="748"/>
                  </a:lnTo>
                  <a:lnTo>
                    <a:pt x="4603" y="740"/>
                  </a:lnTo>
                  <a:lnTo>
                    <a:pt x="4635" y="734"/>
                  </a:lnTo>
                  <a:lnTo>
                    <a:pt x="4669" y="730"/>
                  </a:lnTo>
                  <a:lnTo>
                    <a:pt x="4703" y="728"/>
                  </a:lnTo>
                  <a:lnTo>
                    <a:pt x="4753" y="732"/>
                  </a:lnTo>
                  <a:lnTo>
                    <a:pt x="4810" y="741"/>
                  </a:lnTo>
                  <a:lnTo>
                    <a:pt x="4810" y="1073"/>
                  </a:lnTo>
                  <a:close/>
                  <a:moveTo>
                    <a:pt x="5598" y="1938"/>
                  </a:moveTo>
                  <a:lnTo>
                    <a:pt x="5598" y="1670"/>
                  </a:lnTo>
                  <a:lnTo>
                    <a:pt x="5561" y="1678"/>
                  </a:lnTo>
                  <a:lnTo>
                    <a:pt x="5526" y="1683"/>
                  </a:lnTo>
                  <a:lnTo>
                    <a:pt x="5494" y="1685"/>
                  </a:lnTo>
                  <a:lnTo>
                    <a:pt x="5458" y="1686"/>
                  </a:lnTo>
                  <a:lnTo>
                    <a:pt x="5432" y="1685"/>
                  </a:lnTo>
                  <a:lnTo>
                    <a:pt x="5406" y="1683"/>
                  </a:lnTo>
                  <a:lnTo>
                    <a:pt x="5384" y="1679"/>
                  </a:lnTo>
                  <a:lnTo>
                    <a:pt x="5364" y="1674"/>
                  </a:lnTo>
                  <a:lnTo>
                    <a:pt x="5345" y="1667"/>
                  </a:lnTo>
                  <a:lnTo>
                    <a:pt x="5328" y="1658"/>
                  </a:lnTo>
                  <a:lnTo>
                    <a:pt x="5314" y="1648"/>
                  </a:lnTo>
                  <a:lnTo>
                    <a:pt x="5302" y="1636"/>
                  </a:lnTo>
                  <a:lnTo>
                    <a:pt x="5292" y="1622"/>
                  </a:lnTo>
                  <a:lnTo>
                    <a:pt x="5282" y="1605"/>
                  </a:lnTo>
                  <a:lnTo>
                    <a:pt x="5275" y="1587"/>
                  </a:lnTo>
                  <a:lnTo>
                    <a:pt x="5268" y="1566"/>
                  </a:lnTo>
                  <a:lnTo>
                    <a:pt x="5262" y="1517"/>
                  </a:lnTo>
                  <a:lnTo>
                    <a:pt x="5258" y="1459"/>
                  </a:lnTo>
                  <a:lnTo>
                    <a:pt x="5258" y="1026"/>
                  </a:lnTo>
                  <a:lnTo>
                    <a:pt x="5583" y="1026"/>
                  </a:lnTo>
                  <a:lnTo>
                    <a:pt x="5583" y="755"/>
                  </a:lnTo>
                  <a:lnTo>
                    <a:pt x="5258" y="755"/>
                  </a:lnTo>
                  <a:lnTo>
                    <a:pt x="5258" y="365"/>
                  </a:lnTo>
                  <a:lnTo>
                    <a:pt x="4920" y="556"/>
                  </a:lnTo>
                  <a:lnTo>
                    <a:pt x="4920" y="1037"/>
                  </a:lnTo>
                  <a:lnTo>
                    <a:pt x="4920" y="1519"/>
                  </a:lnTo>
                  <a:lnTo>
                    <a:pt x="4921" y="1575"/>
                  </a:lnTo>
                  <a:lnTo>
                    <a:pt x="4926" y="1627"/>
                  </a:lnTo>
                  <a:lnTo>
                    <a:pt x="4935" y="1674"/>
                  </a:lnTo>
                  <a:lnTo>
                    <a:pt x="4946" y="1718"/>
                  </a:lnTo>
                  <a:lnTo>
                    <a:pt x="4962" y="1758"/>
                  </a:lnTo>
                  <a:lnTo>
                    <a:pt x="4981" y="1794"/>
                  </a:lnTo>
                  <a:lnTo>
                    <a:pt x="5003" y="1826"/>
                  </a:lnTo>
                  <a:lnTo>
                    <a:pt x="5030" y="1855"/>
                  </a:lnTo>
                  <a:lnTo>
                    <a:pt x="5044" y="1868"/>
                  </a:lnTo>
                  <a:lnTo>
                    <a:pt x="5060" y="1880"/>
                  </a:lnTo>
                  <a:lnTo>
                    <a:pt x="5093" y="1901"/>
                  </a:lnTo>
                  <a:lnTo>
                    <a:pt x="5130" y="1920"/>
                  </a:lnTo>
                  <a:lnTo>
                    <a:pt x="5171" y="1935"/>
                  </a:lnTo>
                  <a:lnTo>
                    <a:pt x="5216" y="1946"/>
                  </a:lnTo>
                  <a:lnTo>
                    <a:pt x="5265" y="1954"/>
                  </a:lnTo>
                  <a:lnTo>
                    <a:pt x="5317" y="1959"/>
                  </a:lnTo>
                  <a:lnTo>
                    <a:pt x="5374" y="1960"/>
                  </a:lnTo>
                  <a:lnTo>
                    <a:pt x="5431" y="1959"/>
                  </a:lnTo>
                  <a:lnTo>
                    <a:pt x="5484" y="1956"/>
                  </a:lnTo>
                  <a:lnTo>
                    <a:pt x="5538" y="1949"/>
                  </a:lnTo>
                  <a:lnTo>
                    <a:pt x="5598" y="1938"/>
                  </a:lnTo>
                  <a:close/>
                  <a:moveTo>
                    <a:pt x="6796" y="1358"/>
                  </a:moveTo>
                  <a:lnTo>
                    <a:pt x="6796" y="746"/>
                  </a:lnTo>
                  <a:lnTo>
                    <a:pt x="6457" y="746"/>
                  </a:lnTo>
                  <a:lnTo>
                    <a:pt x="6457" y="1358"/>
                  </a:lnTo>
                  <a:lnTo>
                    <a:pt x="6455" y="1440"/>
                  </a:lnTo>
                  <a:lnTo>
                    <a:pt x="6451" y="1476"/>
                  </a:lnTo>
                  <a:lnTo>
                    <a:pt x="6447" y="1508"/>
                  </a:lnTo>
                  <a:lnTo>
                    <a:pt x="6441" y="1538"/>
                  </a:lnTo>
                  <a:lnTo>
                    <a:pt x="6435" y="1564"/>
                  </a:lnTo>
                  <a:lnTo>
                    <a:pt x="6426" y="1587"/>
                  </a:lnTo>
                  <a:lnTo>
                    <a:pt x="6415" y="1607"/>
                  </a:lnTo>
                  <a:lnTo>
                    <a:pt x="6402" y="1624"/>
                  </a:lnTo>
                  <a:lnTo>
                    <a:pt x="6388" y="1639"/>
                  </a:lnTo>
                  <a:lnTo>
                    <a:pt x="6373" y="1650"/>
                  </a:lnTo>
                  <a:lnTo>
                    <a:pt x="6355" y="1660"/>
                  </a:lnTo>
                  <a:lnTo>
                    <a:pt x="6334" y="1668"/>
                  </a:lnTo>
                  <a:lnTo>
                    <a:pt x="6311" y="1673"/>
                  </a:lnTo>
                  <a:lnTo>
                    <a:pt x="6287" y="1676"/>
                  </a:lnTo>
                  <a:lnTo>
                    <a:pt x="6259" y="1677"/>
                  </a:lnTo>
                  <a:lnTo>
                    <a:pt x="6231" y="1676"/>
                  </a:lnTo>
                  <a:lnTo>
                    <a:pt x="6206" y="1673"/>
                  </a:lnTo>
                  <a:lnTo>
                    <a:pt x="6181" y="1668"/>
                  </a:lnTo>
                  <a:lnTo>
                    <a:pt x="6160" y="1660"/>
                  </a:lnTo>
                  <a:lnTo>
                    <a:pt x="6141" y="1652"/>
                  </a:lnTo>
                  <a:lnTo>
                    <a:pt x="6124" y="1640"/>
                  </a:lnTo>
                  <a:lnTo>
                    <a:pt x="6109" y="1626"/>
                  </a:lnTo>
                  <a:lnTo>
                    <a:pt x="6096" y="1609"/>
                  </a:lnTo>
                  <a:lnTo>
                    <a:pt x="6085" y="1590"/>
                  </a:lnTo>
                  <a:lnTo>
                    <a:pt x="6075" y="1569"/>
                  </a:lnTo>
                  <a:lnTo>
                    <a:pt x="6067" y="1545"/>
                  </a:lnTo>
                  <a:lnTo>
                    <a:pt x="6060" y="1517"/>
                  </a:lnTo>
                  <a:lnTo>
                    <a:pt x="6056" y="1487"/>
                  </a:lnTo>
                  <a:lnTo>
                    <a:pt x="6053" y="1454"/>
                  </a:lnTo>
                  <a:lnTo>
                    <a:pt x="6050" y="1417"/>
                  </a:lnTo>
                  <a:lnTo>
                    <a:pt x="6049" y="1378"/>
                  </a:lnTo>
                  <a:lnTo>
                    <a:pt x="6049" y="746"/>
                  </a:lnTo>
                  <a:lnTo>
                    <a:pt x="5710" y="746"/>
                  </a:lnTo>
                  <a:lnTo>
                    <a:pt x="5710" y="1373"/>
                  </a:lnTo>
                  <a:lnTo>
                    <a:pt x="5713" y="1465"/>
                  </a:lnTo>
                  <a:lnTo>
                    <a:pt x="5715" y="1505"/>
                  </a:lnTo>
                  <a:lnTo>
                    <a:pt x="5718" y="1544"/>
                  </a:lnTo>
                  <a:lnTo>
                    <a:pt x="5729" y="1612"/>
                  </a:lnTo>
                  <a:lnTo>
                    <a:pt x="5737" y="1643"/>
                  </a:lnTo>
                  <a:lnTo>
                    <a:pt x="5746" y="1671"/>
                  </a:lnTo>
                  <a:lnTo>
                    <a:pt x="5756" y="1698"/>
                  </a:lnTo>
                  <a:lnTo>
                    <a:pt x="5768" y="1723"/>
                  </a:lnTo>
                  <a:lnTo>
                    <a:pt x="5780" y="1747"/>
                  </a:lnTo>
                  <a:lnTo>
                    <a:pt x="5796" y="1769"/>
                  </a:lnTo>
                  <a:lnTo>
                    <a:pt x="5812" y="1790"/>
                  </a:lnTo>
                  <a:lnTo>
                    <a:pt x="5830" y="1810"/>
                  </a:lnTo>
                  <a:lnTo>
                    <a:pt x="5849" y="1829"/>
                  </a:lnTo>
                  <a:lnTo>
                    <a:pt x="5872" y="1848"/>
                  </a:lnTo>
                  <a:lnTo>
                    <a:pt x="5889" y="1863"/>
                  </a:lnTo>
                  <a:lnTo>
                    <a:pt x="5908" y="1876"/>
                  </a:lnTo>
                  <a:lnTo>
                    <a:pt x="5928" y="1888"/>
                  </a:lnTo>
                  <a:lnTo>
                    <a:pt x="5949" y="1899"/>
                  </a:lnTo>
                  <a:lnTo>
                    <a:pt x="5972" y="1909"/>
                  </a:lnTo>
                  <a:lnTo>
                    <a:pt x="5994" y="1919"/>
                  </a:lnTo>
                  <a:lnTo>
                    <a:pt x="6040" y="1936"/>
                  </a:lnTo>
                  <a:lnTo>
                    <a:pt x="6091" y="1949"/>
                  </a:lnTo>
                  <a:lnTo>
                    <a:pt x="6144" y="1958"/>
                  </a:lnTo>
                  <a:lnTo>
                    <a:pt x="6199" y="1964"/>
                  </a:lnTo>
                  <a:lnTo>
                    <a:pt x="6257" y="1966"/>
                  </a:lnTo>
                  <a:lnTo>
                    <a:pt x="6325" y="1963"/>
                  </a:lnTo>
                  <a:lnTo>
                    <a:pt x="6388" y="1955"/>
                  </a:lnTo>
                  <a:lnTo>
                    <a:pt x="6419" y="1948"/>
                  </a:lnTo>
                  <a:lnTo>
                    <a:pt x="6448" y="1940"/>
                  </a:lnTo>
                  <a:lnTo>
                    <a:pt x="6505" y="1921"/>
                  </a:lnTo>
                  <a:lnTo>
                    <a:pt x="6531" y="1910"/>
                  </a:lnTo>
                  <a:lnTo>
                    <a:pt x="6557" y="1898"/>
                  </a:lnTo>
                  <a:lnTo>
                    <a:pt x="6605" y="1869"/>
                  </a:lnTo>
                  <a:lnTo>
                    <a:pt x="6626" y="1853"/>
                  </a:lnTo>
                  <a:lnTo>
                    <a:pt x="6647" y="1835"/>
                  </a:lnTo>
                  <a:lnTo>
                    <a:pt x="6667" y="1816"/>
                  </a:lnTo>
                  <a:lnTo>
                    <a:pt x="6685" y="1796"/>
                  </a:lnTo>
                  <a:lnTo>
                    <a:pt x="6699" y="1779"/>
                  </a:lnTo>
                  <a:lnTo>
                    <a:pt x="6712" y="1760"/>
                  </a:lnTo>
                  <a:lnTo>
                    <a:pt x="6735" y="1721"/>
                  </a:lnTo>
                  <a:lnTo>
                    <a:pt x="6755" y="1678"/>
                  </a:lnTo>
                  <a:lnTo>
                    <a:pt x="6769" y="1628"/>
                  </a:lnTo>
                  <a:lnTo>
                    <a:pt x="6781" y="1573"/>
                  </a:lnTo>
                  <a:lnTo>
                    <a:pt x="6786" y="1542"/>
                  </a:lnTo>
                  <a:lnTo>
                    <a:pt x="6790" y="1509"/>
                  </a:lnTo>
                  <a:lnTo>
                    <a:pt x="6795" y="1438"/>
                  </a:lnTo>
                  <a:lnTo>
                    <a:pt x="6796" y="1358"/>
                  </a:lnTo>
                  <a:close/>
                  <a:moveTo>
                    <a:pt x="8720" y="1938"/>
                  </a:moveTo>
                  <a:lnTo>
                    <a:pt x="8720" y="1254"/>
                  </a:lnTo>
                  <a:lnTo>
                    <a:pt x="8718" y="1185"/>
                  </a:lnTo>
                  <a:lnTo>
                    <a:pt x="8716" y="1124"/>
                  </a:lnTo>
                  <a:lnTo>
                    <a:pt x="8712" y="1072"/>
                  </a:lnTo>
                  <a:lnTo>
                    <a:pt x="8706" y="1025"/>
                  </a:lnTo>
                  <a:lnTo>
                    <a:pt x="8698" y="985"/>
                  </a:lnTo>
                  <a:lnTo>
                    <a:pt x="8688" y="950"/>
                  </a:lnTo>
                  <a:lnTo>
                    <a:pt x="8676" y="918"/>
                  </a:lnTo>
                  <a:lnTo>
                    <a:pt x="8662" y="891"/>
                  </a:lnTo>
                  <a:lnTo>
                    <a:pt x="8650" y="871"/>
                  </a:lnTo>
                  <a:lnTo>
                    <a:pt x="8636" y="853"/>
                  </a:lnTo>
                  <a:lnTo>
                    <a:pt x="8622" y="836"/>
                  </a:lnTo>
                  <a:lnTo>
                    <a:pt x="8605" y="820"/>
                  </a:lnTo>
                  <a:lnTo>
                    <a:pt x="8589" y="805"/>
                  </a:lnTo>
                  <a:lnTo>
                    <a:pt x="8570" y="791"/>
                  </a:lnTo>
                  <a:lnTo>
                    <a:pt x="8529" y="766"/>
                  </a:lnTo>
                  <a:lnTo>
                    <a:pt x="8506" y="756"/>
                  </a:lnTo>
                  <a:lnTo>
                    <a:pt x="8484" y="747"/>
                  </a:lnTo>
                  <a:lnTo>
                    <a:pt x="8436" y="733"/>
                  </a:lnTo>
                  <a:lnTo>
                    <a:pt x="8385" y="724"/>
                  </a:lnTo>
                  <a:lnTo>
                    <a:pt x="8332" y="721"/>
                  </a:lnTo>
                  <a:lnTo>
                    <a:pt x="8300" y="722"/>
                  </a:lnTo>
                  <a:lnTo>
                    <a:pt x="8269" y="725"/>
                  </a:lnTo>
                  <a:lnTo>
                    <a:pt x="8239" y="731"/>
                  </a:lnTo>
                  <a:lnTo>
                    <a:pt x="8210" y="737"/>
                  </a:lnTo>
                  <a:lnTo>
                    <a:pt x="8182" y="747"/>
                  </a:lnTo>
                  <a:lnTo>
                    <a:pt x="8155" y="758"/>
                  </a:lnTo>
                  <a:lnTo>
                    <a:pt x="8130" y="772"/>
                  </a:lnTo>
                  <a:lnTo>
                    <a:pt x="8106" y="788"/>
                  </a:lnTo>
                  <a:lnTo>
                    <a:pt x="8083" y="806"/>
                  </a:lnTo>
                  <a:lnTo>
                    <a:pt x="8061" y="827"/>
                  </a:lnTo>
                  <a:lnTo>
                    <a:pt x="8040" y="850"/>
                  </a:lnTo>
                  <a:lnTo>
                    <a:pt x="8021" y="874"/>
                  </a:lnTo>
                  <a:lnTo>
                    <a:pt x="8002" y="902"/>
                  </a:lnTo>
                  <a:lnTo>
                    <a:pt x="7984" y="931"/>
                  </a:lnTo>
                  <a:lnTo>
                    <a:pt x="7968" y="963"/>
                  </a:lnTo>
                  <a:lnTo>
                    <a:pt x="7951" y="997"/>
                  </a:lnTo>
                  <a:lnTo>
                    <a:pt x="7942" y="964"/>
                  </a:lnTo>
                  <a:lnTo>
                    <a:pt x="7932" y="933"/>
                  </a:lnTo>
                  <a:lnTo>
                    <a:pt x="7908" y="876"/>
                  </a:lnTo>
                  <a:lnTo>
                    <a:pt x="7893" y="852"/>
                  </a:lnTo>
                  <a:lnTo>
                    <a:pt x="7885" y="840"/>
                  </a:lnTo>
                  <a:lnTo>
                    <a:pt x="7877" y="828"/>
                  </a:lnTo>
                  <a:lnTo>
                    <a:pt x="7869" y="818"/>
                  </a:lnTo>
                  <a:lnTo>
                    <a:pt x="7859" y="808"/>
                  </a:lnTo>
                  <a:lnTo>
                    <a:pt x="7840" y="791"/>
                  </a:lnTo>
                  <a:lnTo>
                    <a:pt x="7820" y="774"/>
                  </a:lnTo>
                  <a:lnTo>
                    <a:pt x="7798" y="760"/>
                  </a:lnTo>
                  <a:lnTo>
                    <a:pt x="7773" y="748"/>
                  </a:lnTo>
                  <a:lnTo>
                    <a:pt x="7748" y="738"/>
                  </a:lnTo>
                  <a:lnTo>
                    <a:pt x="7721" y="731"/>
                  </a:lnTo>
                  <a:lnTo>
                    <a:pt x="7692" y="725"/>
                  </a:lnTo>
                  <a:lnTo>
                    <a:pt x="7662" y="722"/>
                  </a:lnTo>
                  <a:lnTo>
                    <a:pt x="7630" y="721"/>
                  </a:lnTo>
                  <a:lnTo>
                    <a:pt x="7598" y="722"/>
                  </a:lnTo>
                  <a:lnTo>
                    <a:pt x="7567" y="725"/>
                  </a:lnTo>
                  <a:lnTo>
                    <a:pt x="7537" y="730"/>
                  </a:lnTo>
                  <a:lnTo>
                    <a:pt x="7509" y="737"/>
                  </a:lnTo>
                  <a:lnTo>
                    <a:pt x="7481" y="746"/>
                  </a:lnTo>
                  <a:lnTo>
                    <a:pt x="7456" y="757"/>
                  </a:lnTo>
                  <a:lnTo>
                    <a:pt x="7431" y="771"/>
                  </a:lnTo>
                  <a:lnTo>
                    <a:pt x="7408" y="786"/>
                  </a:lnTo>
                  <a:lnTo>
                    <a:pt x="7386" y="804"/>
                  </a:lnTo>
                  <a:lnTo>
                    <a:pt x="7364" y="824"/>
                  </a:lnTo>
                  <a:lnTo>
                    <a:pt x="7344" y="846"/>
                  </a:lnTo>
                  <a:lnTo>
                    <a:pt x="7324" y="871"/>
                  </a:lnTo>
                  <a:lnTo>
                    <a:pt x="7307" y="896"/>
                  </a:lnTo>
                  <a:lnTo>
                    <a:pt x="7288" y="925"/>
                  </a:lnTo>
                  <a:lnTo>
                    <a:pt x="7270" y="956"/>
                  </a:lnTo>
                  <a:lnTo>
                    <a:pt x="7253" y="990"/>
                  </a:lnTo>
                  <a:lnTo>
                    <a:pt x="7253" y="746"/>
                  </a:lnTo>
                  <a:lnTo>
                    <a:pt x="6927" y="746"/>
                  </a:lnTo>
                  <a:lnTo>
                    <a:pt x="6927" y="1342"/>
                  </a:lnTo>
                  <a:lnTo>
                    <a:pt x="6927" y="1938"/>
                  </a:lnTo>
                  <a:lnTo>
                    <a:pt x="7266" y="1938"/>
                  </a:lnTo>
                  <a:lnTo>
                    <a:pt x="7266" y="1384"/>
                  </a:lnTo>
                  <a:lnTo>
                    <a:pt x="7267" y="1329"/>
                  </a:lnTo>
                  <a:lnTo>
                    <a:pt x="7270" y="1283"/>
                  </a:lnTo>
                  <a:lnTo>
                    <a:pt x="7276" y="1242"/>
                  </a:lnTo>
                  <a:lnTo>
                    <a:pt x="7283" y="1207"/>
                  </a:lnTo>
                  <a:lnTo>
                    <a:pt x="7290" y="1187"/>
                  </a:lnTo>
                  <a:lnTo>
                    <a:pt x="7297" y="1169"/>
                  </a:lnTo>
                  <a:lnTo>
                    <a:pt x="7314" y="1135"/>
                  </a:lnTo>
                  <a:lnTo>
                    <a:pt x="7323" y="1118"/>
                  </a:lnTo>
                  <a:lnTo>
                    <a:pt x="7334" y="1104"/>
                  </a:lnTo>
                  <a:lnTo>
                    <a:pt x="7359" y="1078"/>
                  </a:lnTo>
                  <a:lnTo>
                    <a:pt x="7386" y="1058"/>
                  </a:lnTo>
                  <a:lnTo>
                    <a:pt x="7416" y="1043"/>
                  </a:lnTo>
                  <a:lnTo>
                    <a:pt x="7431" y="1037"/>
                  </a:lnTo>
                  <a:lnTo>
                    <a:pt x="7447" y="1034"/>
                  </a:lnTo>
                  <a:lnTo>
                    <a:pt x="7481" y="1031"/>
                  </a:lnTo>
                  <a:lnTo>
                    <a:pt x="7506" y="1032"/>
                  </a:lnTo>
                  <a:lnTo>
                    <a:pt x="7530" y="1037"/>
                  </a:lnTo>
                  <a:lnTo>
                    <a:pt x="7551" y="1045"/>
                  </a:lnTo>
                  <a:lnTo>
                    <a:pt x="7570" y="1056"/>
                  </a:lnTo>
                  <a:lnTo>
                    <a:pt x="7588" y="1069"/>
                  </a:lnTo>
                  <a:lnTo>
                    <a:pt x="7602" y="1086"/>
                  </a:lnTo>
                  <a:lnTo>
                    <a:pt x="7615" y="1106"/>
                  </a:lnTo>
                  <a:lnTo>
                    <a:pt x="7621" y="1116"/>
                  </a:lnTo>
                  <a:lnTo>
                    <a:pt x="7625" y="1127"/>
                  </a:lnTo>
                  <a:lnTo>
                    <a:pt x="7638" y="1165"/>
                  </a:lnTo>
                  <a:lnTo>
                    <a:pt x="7645" y="1211"/>
                  </a:lnTo>
                  <a:lnTo>
                    <a:pt x="7650" y="1268"/>
                  </a:lnTo>
                  <a:lnTo>
                    <a:pt x="7651" y="1342"/>
                  </a:lnTo>
                  <a:lnTo>
                    <a:pt x="7651" y="1938"/>
                  </a:lnTo>
                  <a:lnTo>
                    <a:pt x="7993" y="1938"/>
                  </a:lnTo>
                  <a:lnTo>
                    <a:pt x="7993" y="1364"/>
                  </a:lnTo>
                  <a:lnTo>
                    <a:pt x="7993" y="1325"/>
                  </a:lnTo>
                  <a:lnTo>
                    <a:pt x="7996" y="1287"/>
                  </a:lnTo>
                  <a:lnTo>
                    <a:pt x="8000" y="1253"/>
                  </a:lnTo>
                  <a:lnTo>
                    <a:pt x="8006" y="1221"/>
                  </a:lnTo>
                  <a:lnTo>
                    <a:pt x="8014" y="1191"/>
                  </a:lnTo>
                  <a:lnTo>
                    <a:pt x="8023" y="1164"/>
                  </a:lnTo>
                  <a:lnTo>
                    <a:pt x="8034" y="1138"/>
                  </a:lnTo>
                  <a:lnTo>
                    <a:pt x="8046" y="1116"/>
                  </a:lnTo>
                  <a:lnTo>
                    <a:pt x="8061" y="1096"/>
                  </a:lnTo>
                  <a:lnTo>
                    <a:pt x="8078" y="1079"/>
                  </a:lnTo>
                  <a:lnTo>
                    <a:pt x="8095" y="1064"/>
                  </a:lnTo>
                  <a:lnTo>
                    <a:pt x="8114" y="1052"/>
                  </a:lnTo>
                  <a:lnTo>
                    <a:pt x="8135" y="1043"/>
                  </a:lnTo>
                  <a:lnTo>
                    <a:pt x="8158" y="1036"/>
                  </a:lnTo>
                  <a:lnTo>
                    <a:pt x="8182" y="1032"/>
                  </a:lnTo>
                  <a:lnTo>
                    <a:pt x="8208" y="1031"/>
                  </a:lnTo>
                  <a:lnTo>
                    <a:pt x="8238" y="1032"/>
                  </a:lnTo>
                  <a:lnTo>
                    <a:pt x="8264" y="1037"/>
                  </a:lnTo>
                  <a:lnTo>
                    <a:pt x="8289" y="1046"/>
                  </a:lnTo>
                  <a:lnTo>
                    <a:pt x="8310" y="1058"/>
                  </a:lnTo>
                  <a:lnTo>
                    <a:pt x="8320" y="1066"/>
                  </a:lnTo>
                  <a:lnTo>
                    <a:pt x="8329" y="1075"/>
                  </a:lnTo>
                  <a:lnTo>
                    <a:pt x="8336" y="1084"/>
                  </a:lnTo>
                  <a:lnTo>
                    <a:pt x="8343" y="1095"/>
                  </a:lnTo>
                  <a:lnTo>
                    <a:pt x="8356" y="1118"/>
                  </a:lnTo>
                  <a:lnTo>
                    <a:pt x="8365" y="1146"/>
                  </a:lnTo>
                  <a:lnTo>
                    <a:pt x="8370" y="1178"/>
                  </a:lnTo>
                  <a:lnTo>
                    <a:pt x="8374" y="1219"/>
                  </a:lnTo>
                  <a:lnTo>
                    <a:pt x="8376" y="1268"/>
                  </a:lnTo>
                  <a:lnTo>
                    <a:pt x="8377" y="1324"/>
                  </a:lnTo>
                  <a:lnTo>
                    <a:pt x="8377" y="1938"/>
                  </a:lnTo>
                  <a:lnTo>
                    <a:pt x="8720" y="1938"/>
                  </a:lnTo>
                  <a:close/>
                  <a:moveTo>
                    <a:pt x="2622" y="369"/>
                  </a:moveTo>
                  <a:lnTo>
                    <a:pt x="2584" y="372"/>
                  </a:lnTo>
                  <a:lnTo>
                    <a:pt x="2566" y="376"/>
                  </a:lnTo>
                  <a:lnTo>
                    <a:pt x="2549" y="382"/>
                  </a:lnTo>
                  <a:lnTo>
                    <a:pt x="2534" y="390"/>
                  </a:lnTo>
                  <a:lnTo>
                    <a:pt x="2519" y="399"/>
                  </a:lnTo>
                  <a:lnTo>
                    <a:pt x="2494" y="421"/>
                  </a:lnTo>
                  <a:lnTo>
                    <a:pt x="2483" y="434"/>
                  </a:lnTo>
                  <a:lnTo>
                    <a:pt x="2473" y="450"/>
                  </a:lnTo>
                  <a:lnTo>
                    <a:pt x="2465" y="465"/>
                  </a:lnTo>
                  <a:lnTo>
                    <a:pt x="2458" y="483"/>
                  </a:lnTo>
                  <a:lnTo>
                    <a:pt x="2453" y="502"/>
                  </a:lnTo>
                  <a:lnTo>
                    <a:pt x="2449" y="521"/>
                  </a:lnTo>
                  <a:lnTo>
                    <a:pt x="2446" y="542"/>
                  </a:lnTo>
                  <a:lnTo>
                    <a:pt x="2446" y="564"/>
                  </a:lnTo>
                  <a:lnTo>
                    <a:pt x="2446" y="757"/>
                  </a:lnTo>
                  <a:lnTo>
                    <a:pt x="2692" y="757"/>
                  </a:lnTo>
                  <a:lnTo>
                    <a:pt x="2692" y="1027"/>
                  </a:lnTo>
                  <a:lnTo>
                    <a:pt x="2446" y="1027"/>
                  </a:lnTo>
                  <a:lnTo>
                    <a:pt x="2446" y="1483"/>
                  </a:lnTo>
                  <a:lnTo>
                    <a:pt x="2446" y="1938"/>
                  </a:lnTo>
                  <a:lnTo>
                    <a:pt x="2107" y="1938"/>
                  </a:lnTo>
                  <a:lnTo>
                    <a:pt x="2107" y="1483"/>
                  </a:lnTo>
                  <a:lnTo>
                    <a:pt x="2107" y="1027"/>
                  </a:lnTo>
                  <a:lnTo>
                    <a:pt x="1950" y="1027"/>
                  </a:lnTo>
                  <a:lnTo>
                    <a:pt x="1950" y="757"/>
                  </a:lnTo>
                  <a:lnTo>
                    <a:pt x="2107" y="757"/>
                  </a:lnTo>
                  <a:lnTo>
                    <a:pt x="2107" y="595"/>
                  </a:lnTo>
                  <a:lnTo>
                    <a:pt x="2110" y="501"/>
                  </a:lnTo>
                  <a:lnTo>
                    <a:pt x="2115" y="454"/>
                  </a:lnTo>
                  <a:lnTo>
                    <a:pt x="2122" y="407"/>
                  </a:lnTo>
                  <a:lnTo>
                    <a:pt x="2126" y="385"/>
                  </a:lnTo>
                  <a:lnTo>
                    <a:pt x="2130" y="363"/>
                  </a:lnTo>
                  <a:lnTo>
                    <a:pt x="2144" y="320"/>
                  </a:lnTo>
                  <a:lnTo>
                    <a:pt x="2152" y="299"/>
                  </a:lnTo>
                  <a:lnTo>
                    <a:pt x="2160" y="278"/>
                  </a:lnTo>
                  <a:lnTo>
                    <a:pt x="2182" y="240"/>
                  </a:lnTo>
                  <a:lnTo>
                    <a:pt x="2207" y="203"/>
                  </a:lnTo>
                  <a:lnTo>
                    <a:pt x="2222" y="186"/>
                  </a:lnTo>
                  <a:lnTo>
                    <a:pt x="2238" y="171"/>
                  </a:lnTo>
                  <a:lnTo>
                    <a:pt x="2255" y="156"/>
                  </a:lnTo>
                  <a:lnTo>
                    <a:pt x="2274" y="142"/>
                  </a:lnTo>
                  <a:lnTo>
                    <a:pt x="2316" y="118"/>
                  </a:lnTo>
                  <a:lnTo>
                    <a:pt x="2339" y="108"/>
                  </a:lnTo>
                  <a:lnTo>
                    <a:pt x="2365" y="99"/>
                  </a:lnTo>
                  <a:lnTo>
                    <a:pt x="2391" y="90"/>
                  </a:lnTo>
                  <a:lnTo>
                    <a:pt x="2419" y="83"/>
                  </a:lnTo>
                  <a:lnTo>
                    <a:pt x="2449" y="79"/>
                  </a:lnTo>
                  <a:lnTo>
                    <a:pt x="2481" y="74"/>
                  </a:lnTo>
                  <a:lnTo>
                    <a:pt x="2516" y="72"/>
                  </a:lnTo>
                  <a:lnTo>
                    <a:pt x="2551" y="71"/>
                  </a:lnTo>
                  <a:lnTo>
                    <a:pt x="2615" y="73"/>
                  </a:lnTo>
                  <a:lnTo>
                    <a:pt x="2668" y="79"/>
                  </a:lnTo>
                  <a:lnTo>
                    <a:pt x="2721" y="88"/>
                  </a:lnTo>
                  <a:lnTo>
                    <a:pt x="2782" y="100"/>
                  </a:lnTo>
                  <a:lnTo>
                    <a:pt x="2782" y="390"/>
                  </a:lnTo>
                  <a:lnTo>
                    <a:pt x="2717" y="375"/>
                  </a:lnTo>
                  <a:lnTo>
                    <a:pt x="2676" y="371"/>
                  </a:lnTo>
                  <a:lnTo>
                    <a:pt x="2622" y="369"/>
                  </a:lnTo>
                  <a:close/>
                  <a:moveTo>
                    <a:pt x="1447" y="1554"/>
                  </a:moveTo>
                  <a:lnTo>
                    <a:pt x="1649" y="1903"/>
                  </a:lnTo>
                  <a:lnTo>
                    <a:pt x="1599" y="1930"/>
                  </a:lnTo>
                  <a:lnTo>
                    <a:pt x="1549" y="1955"/>
                  </a:lnTo>
                  <a:lnTo>
                    <a:pt x="1498" y="1976"/>
                  </a:lnTo>
                  <a:lnTo>
                    <a:pt x="1446" y="1995"/>
                  </a:lnTo>
                  <a:lnTo>
                    <a:pt x="1394" y="2010"/>
                  </a:lnTo>
                  <a:lnTo>
                    <a:pt x="1342" y="2024"/>
                  </a:lnTo>
                  <a:lnTo>
                    <a:pt x="1288" y="2035"/>
                  </a:lnTo>
                  <a:lnTo>
                    <a:pt x="1235" y="2042"/>
                  </a:lnTo>
                  <a:lnTo>
                    <a:pt x="1183" y="2047"/>
                  </a:lnTo>
                  <a:lnTo>
                    <a:pt x="1130" y="2050"/>
                  </a:lnTo>
                  <a:lnTo>
                    <a:pt x="1076" y="2050"/>
                  </a:lnTo>
                  <a:lnTo>
                    <a:pt x="1023" y="2048"/>
                  </a:lnTo>
                  <a:lnTo>
                    <a:pt x="971" y="2042"/>
                  </a:lnTo>
                  <a:lnTo>
                    <a:pt x="919" y="2036"/>
                  </a:lnTo>
                  <a:lnTo>
                    <a:pt x="866" y="2026"/>
                  </a:lnTo>
                  <a:lnTo>
                    <a:pt x="815" y="2012"/>
                  </a:lnTo>
                  <a:lnTo>
                    <a:pt x="764" y="1998"/>
                  </a:lnTo>
                  <a:lnTo>
                    <a:pt x="714" y="1981"/>
                  </a:lnTo>
                  <a:lnTo>
                    <a:pt x="690" y="1971"/>
                  </a:lnTo>
                  <a:lnTo>
                    <a:pt x="665" y="1961"/>
                  </a:lnTo>
                  <a:lnTo>
                    <a:pt x="618" y="1939"/>
                  </a:lnTo>
                  <a:lnTo>
                    <a:pt x="570" y="1915"/>
                  </a:lnTo>
                  <a:lnTo>
                    <a:pt x="524" y="1888"/>
                  </a:lnTo>
                  <a:lnTo>
                    <a:pt x="480" y="1859"/>
                  </a:lnTo>
                  <a:lnTo>
                    <a:pt x="436" y="1828"/>
                  </a:lnTo>
                  <a:lnTo>
                    <a:pt x="394" y="1795"/>
                  </a:lnTo>
                  <a:lnTo>
                    <a:pt x="353" y="1759"/>
                  </a:lnTo>
                  <a:lnTo>
                    <a:pt x="314" y="1721"/>
                  </a:lnTo>
                  <a:lnTo>
                    <a:pt x="278" y="1681"/>
                  </a:lnTo>
                  <a:lnTo>
                    <a:pt x="242" y="1639"/>
                  </a:lnTo>
                  <a:lnTo>
                    <a:pt x="209" y="1596"/>
                  </a:lnTo>
                  <a:lnTo>
                    <a:pt x="177" y="1549"/>
                  </a:lnTo>
                  <a:lnTo>
                    <a:pt x="148" y="1502"/>
                  </a:lnTo>
                  <a:lnTo>
                    <a:pt x="120" y="1452"/>
                  </a:lnTo>
                  <a:lnTo>
                    <a:pt x="97" y="1400"/>
                  </a:lnTo>
                  <a:lnTo>
                    <a:pt x="74" y="1349"/>
                  </a:lnTo>
                  <a:lnTo>
                    <a:pt x="55" y="1298"/>
                  </a:lnTo>
                  <a:lnTo>
                    <a:pt x="40" y="1246"/>
                  </a:lnTo>
                  <a:lnTo>
                    <a:pt x="27" y="1193"/>
                  </a:lnTo>
                  <a:lnTo>
                    <a:pt x="17" y="1141"/>
                  </a:lnTo>
                  <a:lnTo>
                    <a:pt x="8" y="1087"/>
                  </a:lnTo>
                  <a:lnTo>
                    <a:pt x="3" y="1034"/>
                  </a:lnTo>
                  <a:lnTo>
                    <a:pt x="0" y="981"/>
                  </a:lnTo>
                  <a:lnTo>
                    <a:pt x="0" y="928"/>
                  </a:lnTo>
                  <a:lnTo>
                    <a:pt x="2" y="875"/>
                  </a:lnTo>
                  <a:lnTo>
                    <a:pt x="8" y="822"/>
                  </a:lnTo>
                  <a:lnTo>
                    <a:pt x="15" y="770"/>
                  </a:lnTo>
                  <a:lnTo>
                    <a:pt x="25" y="718"/>
                  </a:lnTo>
                  <a:lnTo>
                    <a:pt x="38" y="667"/>
                  </a:lnTo>
                  <a:lnTo>
                    <a:pt x="52" y="616"/>
                  </a:lnTo>
                  <a:lnTo>
                    <a:pt x="70" y="566"/>
                  </a:lnTo>
                  <a:lnTo>
                    <a:pt x="79" y="542"/>
                  </a:lnTo>
                  <a:lnTo>
                    <a:pt x="89" y="517"/>
                  </a:lnTo>
                  <a:lnTo>
                    <a:pt x="111" y="470"/>
                  </a:lnTo>
                  <a:lnTo>
                    <a:pt x="135" y="422"/>
                  </a:lnTo>
                  <a:lnTo>
                    <a:pt x="162" y="376"/>
                  </a:lnTo>
                  <a:lnTo>
                    <a:pt x="191" y="332"/>
                  </a:lnTo>
                  <a:lnTo>
                    <a:pt x="222" y="289"/>
                  </a:lnTo>
                  <a:lnTo>
                    <a:pt x="255" y="246"/>
                  </a:lnTo>
                  <a:lnTo>
                    <a:pt x="291" y="205"/>
                  </a:lnTo>
                  <a:lnTo>
                    <a:pt x="329" y="166"/>
                  </a:lnTo>
                  <a:lnTo>
                    <a:pt x="369" y="130"/>
                  </a:lnTo>
                  <a:lnTo>
                    <a:pt x="411" y="94"/>
                  </a:lnTo>
                  <a:lnTo>
                    <a:pt x="455" y="61"/>
                  </a:lnTo>
                  <a:lnTo>
                    <a:pt x="501" y="29"/>
                  </a:lnTo>
                  <a:lnTo>
                    <a:pt x="550" y="0"/>
                  </a:lnTo>
                  <a:lnTo>
                    <a:pt x="825" y="74"/>
                  </a:lnTo>
                  <a:lnTo>
                    <a:pt x="751" y="349"/>
                  </a:lnTo>
                  <a:lnTo>
                    <a:pt x="720" y="369"/>
                  </a:lnTo>
                  <a:lnTo>
                    <a:pt x="690" y="389"/>
                  </a:lnTo>
                  <a:lnTo>
                    <a:pt x="661" y="411"/>
                  </a:lnTo>
                  <a:lnTo>
                    <a:pt x="634" y="434"/>
                  </a:lnTo>
                  <a:lnTo>
                    <a:pt x="608" y="459"/>
                  </a:lnTo>
                  <a:lnTo>
                    <a:pt x="584" y="484"/>
                  </a:lnTo>
                  <a:lnTo>
                    <a:pt x="540" y="537"/>
                  </a:lnTo>
                  <a:lnTo>
                    <a:pt x="520" y="565"/>
                  </a:lnTo>
                  <a:lnTo>
                    <a:pt x="502" y="594"/>
                  </a:lnTo>
                  <a:lnTo>
                    <a:pt x="485" y="624"/>
                  </a:lnTo>
                  <a:lnTo>
                    <a:pt x="470" y="655"/>
                  </a:lnTo>
                  <a:lnTo>
                    <a:pt x="455" y="686"/>
                  </a:lnTo>
                  <a:lnTo>
                    <a:pt x="443" y="717"/>
                  </a:lnTo>
                  <a:lnTo>
                    <a:pt x="424" y="782"/>
                  </a:lnTo>
                  <a:lnTo>
                    <a:pt x="410" y="848"/>
                  </a:lnTo>
                  <a:lnTo>
                    <a:pt x="403" y="915"/>
                  </a:lnTo>
                  <a:lnTo>
                    <a:pt x="401" y="948"/>
                  </a:lnTo>
                  <a:lnTo>
                    <a:pt x="401" y="982"/>
                  </a:lnTo>
                  <a:lnTo>
                    <a:pt x="403" y="1015"/>
                  </a:lnTo>
                  <a:lnTo>
                    <a:pt x="406" y="1048"/>
                  </a:lnTo>
                  <a:lnTo>
                    <a:pt x="411" y="1082"/>
                  </a:lnTo>
                  <a:lnTo>
                    <a:pt x="418" y="1115"/>
                  </a:lnTo>
                  <a:lnTo>
                    <a:pt x="426" y="1147"/>
                  </a:lnTo>
                  <a:lnTo>
                    <a:pt x="435" y="1179"/>
                  </a:lnTo>
                  <a:lnTo>
                    <a:pt x="448" y="1211"/>
                  </a:lnTo>
                  <a:lnTo>
                    <a:pt x="460" y="1242"/>
                  </a:lnTo>
                  <a:lnTo>
                    <a:pt x="475" y="1273"/>
                  </a:lnTo>
                  <a:lnTo>
                    <a:pt x="491" y="1303"/>
                  </a:lnTo>
                  <a:lnTo>
                    <a:pt x="509" y="1332"/>
                  </a:lnTo>
                  <a:lnTo>
                    <a:pt x="528" y="1359"/>
                  </a:lnTo>
                  <a:lnTo>
                    <a:pt x="570" y="1412"/>
                  </a:lnTo>
                  <a:lnTo>
                    <a:pt x="593" y="1436"/>
                  </a:lnTo>
                  <a:lnTo>
                    <a:pt x="618" y="1459"/>
                  </a:lnTo>
                  <a:lnTo>
                    <a:pt x="643" y="1482"/>
                  </a:lnTo>
                  <a:lnTo>
                    <a:pt x="669" y="1503"/>
                  </a:lnTo>
                  <a:lnTo>
                    <a:pt x="724" y="1540"/>
                  </a:lnTo>
                  <a:lnTo>
                    <a:pt x="753" y="1557"/>
                  </a:lnTo>
                  <a:lnTo>
                    <a:pt x="783" y="1573"/>
                  </a:lnTo>
                  <a:lnTo>
                    <a:pt x="844" y="1600"/>
                  </a:lnTo>
                  <a:lnTo>
                    <a:pt x="876" y="1612"/>
                  </a:lnTo>
                  <a:lnTo>
                    <a:pt x="909" y="1622"/>
                  </a:lnTo>
                  <a:lnTo>
                    <a:pt x="974" y="1636"/>
                  </a:lnTo>
                  <a:lnTo>
                    <a:pt x="1007" y="1642"/>
                  </a:lnTo>
                  <a:lnTo>
                    <a:pt x="1042" y="1645"/>
                  </a:lnTo>
                  <a:lnTo>
                    <a:pt x="1075" y="1647"/>
                  </a:lnTo>
                  <a:lnTo>
                    <a:pt x="1110" y="1647"/>
                  </a:lnTo>
                  <a:lnTo>
                    <a:pt x="1144" y="1646"/>
                  </a:lnTo>
                  <a:lnTo>
                    <a:pt x="1178" y="1643"/>
                  </a:lnTo>
                  <a:lnTo>
                    <a:pt x="1213" y="1638"/>
                  </a:lnTo>
                  <a:lnTo>
                    <a:pt x="1246" y="1632"/>
                  </a:lnTo>
                  <a:lnTo>
                    <a:pt x="1281" y="1624"/>
                  </a:lnTo>
                  <a:lnTo>
                    <a:pt x="1315" y="1614"/>
                  </a:lnTo>
                  <a:lnTo>
                    <a:pt x="1348" y="1602"/>
                  </a:lnTo>
                  <a:lnTo>
                    <a:pt x="1382" y="1587"/>
                  </a:lnTo>
                  <a:lnTo>
                    <a:pt x="1415" y="1572"/>
                  </a:lnTo>
                  <a:lnTo>
                    <a:pt x="1447" y="1554"/>
                  </a:lnTo>
                  <a:close/>
                  <a:moveTo>
                    <a:pt x="565" y="1259"/>
                  </a:moveTo>
                  <a:lnTo>
                    <a:pt x="598" y="1309"/>
                  </a:lnTo>
                  <a:lnTo>
                    <a:pt x="634" y="1356"/>
                  </a:lnTo>
                  <a:lnTo>
                    <a:pt x="676" y="1398"/>
                  </a:lnTo>
                  <a:lnTo>
                    <a:pt x="721" y="1435"/>
                  </a:lnTo>
                  <a:lnTo>
                    <a:pt x="745" y="1453"/>
                  </a:lnTo>
                  <a:lnTo>
                    <a:pt x="770" y="1468"/>
                  </a:lnTo>
                  <a:lnTo>
                    <a:pt x="821" y="1497"/>
                  </a:lnTo>
                  <a:lnTo>
                    <a:pt x="847" y="1509"/>
                  </a:lnTo>
                  <a:lnTo>
                    <a:pt x="875" y="1520"/>
                  </a:lnTo>
                  <a:lnTo>
                    <a:pt x="932" y="1539"/>
                  </a:lnTo>
                  <a:lnTo>
                    <a:pt x="990" y="1553"/>
                  </a:lnTo>
                  <a:lnTo>
                    <a:pt x="1049" y="1560"/>
                  </a:lnTo>
                  <a:lnTo>
                    <a:pt x="1108" y="1563"/>
                  </a:lnTo>
                  <a:lnTo>
                    <a:pt x="1168" y="1558"/>
                  </a:lnTo>
                  <a:lnTo>
                    <a:pt x="1228" y="1548"/>
                  </a:lnTo>
                  <a:lnTo>
                    <a:pt x="1288" y="1533"/>
                  </a:lnTo>
                  <a:lnTo>
                    <a:pt x="1347" y="1509"/>
                  </a:lnTo>
                  <a:lnTo>
                    <a:pt x="1405" y="1480"/>
                  </a:lnTo>
                  <a:lnTo>
                    <a:pt x="1460" y="1445"/>
                  </a:lnTo>
                  <a:lnTo>
                    <a:pt x="1485" y="1426"/>
                  </a:lnTo>
                  <a:lnTo>
                    <a:pt x="1508" y="1405"/>
                  </a:lnTo>
                  <a:lnTo>
                    <a:pt x="1553" y="1362"/>
                  </a:lnTo>
                  <a:lnTo>
                    <a:pt x="1592" y="1314"/>
                  </a:lnTo>
                  <a:lnTo>
                    <a:pt x="1625" y="1264"/>
                  </a:lnTo>
                  <a:lnTo>
                    <a:pt x="1639" y="1237"/>
                  </a:lnTo>
                  <a:lnTo>
                    <a:pt x="1653" y="1211"/>
                  </a:lnTo>
                  <a:lnTo>
                    <a:pt x="1665" y="1184"/>
                  </a:lnTo>
                  <a:lnTo>
                    <a:pt x="1676" y="1156"/>
                  </a:lnTo>
                  <a:lnTo>
                    <a:pt x="1693" y="1099"/>
                  </a:lnTo>
                  <a:lnTo>
                    <a:pt x="1705" y="1042"/>
                  </a:lnTo>
                  <a:lnTo>
                    <a:pt x="1709" y="1013"/>
                  </a:lnTo>
                  <a:lnTo>
                    <a:pt x="1712" y="983"/>
                  </a:lnTo>
                  <a:lnTo>
                    <a:pt x="1713" y="924"/>
                  </a:lnTo>
                  <a:lnTo>
                    <a:pt x="1708" y="866"/>
                  </a:lnTo>
                  <a:lnTo>
                    <a:pt x="1697" y="807"/>
                  </a:lnTo>
                  <a:lnTo>
                    <a:pt x="1682" y="751"/>
                  </a:lnTo>
                  <a:lnTo>
                    <a:pt x="1661" y="696"/>
                  </a:lnTo>
                  <a:lnTo>
                    <a:pt x="1634" y="643"/>
                  </a:lnTo>
                  <a:lnTo>
                    <a:pt x="1602" y="593"/>
                  </a:lnTo>
                  <a:lnTo>
                    <a:pt x="1564" y="547"/>
                  </a:lnTo>
                  <a:lnTo>
                    <a:pt x="1523" y="505"/>
                  </a:lnTo>
                  <a:lnTo>
                    <a:pt x="1501" y="485"/>
                  </a:lnTo>
                  <a:lnTo>
                    <a:pt x="1478" y="467"/>
                  </a:lnTo>
                  <a:lnTo>
                    <a:pt x="1454" y="450"/>
                  </a:lnTo>
                  <a:lnTo>
                    <a:pt x="1430" y="434"/>
                  </a:lnTo>
                  <a:lnTo>
                    <a:pt x="1378" y="405"/>
                  </a:lnTo>
                  <a:lnTo>
                    <a:pt x="1352" y="393"/>
                  </a:lnTo>
                  <a:lnTo>
                    <a:pt x="1324" y="382"/>
                  </a:lnTo>
                  <a:lnTo>
                    <a:pt x="1268" y="363"/>
                  </a:lnTo>
                  <a:lnTo>
                    <a:pt x="1240" y="356"/>
                  </a:lnTo>
                  <a:lnTo>
                    <a:pt x="1211" y="350"/>
                  </a:lnTo>
                  <a:lnTo>
                    <a:pt x="1181" y="345"/>
                  </a:lnTo>
                  <a:lnTo>
                    <a:pt x="1152" y="342"/>
                  </a:lnTo>
                  <a:lnTo>
                    <a:pt x="1092" y="340"/>
                  </a:lnTo>
                  <a:lnTo>
                    <a:pt x="1031" y="344"/>
                  </a:lnTo>
                  <a:lnTo>
                    <a:pt x="971" y="354"/>
                  </a:lnTo>
                  <a:lnTo>
                    <a:pt x="911" y="370"/>
                  </a:lnTo>
                  <a:lnTo>
                    <a:pt x="881" y="381"/>
                  </a:lnTo>
                  <a:lnTo>
                    <a:pt x="852" y="393"/>
                  </a:lnTo>
                  <a:lnTo>
                    <a:pt x="823" y="406"/>
                  </a:lnTo>
                  <a:lnTo>
                    <a:pt x="794" y="423"/>
                  </a:lnTo>
                  <a:lnTo>
                    <a:pt x="766" y="440"/>
                  </a:lnTo>
                  <a:lnTo>
                    <a:pt x="740" y="457"/>
                  </a:lnTo>
                  <a:lnTo>
                    <a:pt x="714" y="476"/>
                  </a:lnTo>
                  <a:lnTo>
                    <a:pt x="691" y="497"/>
                  </a:lnTo>
                  <a:lnTo>
                    <a:pt x="646" y="541"/>
                  </a:lnTo>
                  <a:lnTo>
                    <a:pt x="609" y="589"/>
                  </a:lnTo>
                  <a:lnTo>
                    <a:pt x="574" y="639"/>
                  </a:lnTo>
                  <a:lnTo>
                    <a:pt x="560" y="664"/>
                  </a:lnTo>
                  <a:lnTo>
                    <a:pt x="546" y="692"/>
                  </a:lnTo>
                  <a:lnTo>
                    <a:pt x="534" y="718"/>
                  </a:lnTo>
                  <a:lnTo>
                    <a:pt x="524" y="746"/>
                  </a:lnTo>
                  <a:lnTo>
                    <a:pt x="506" y="803"/>
                  </a:lnTo>
                  <a:lnTo>
                    <a:pt x="494" y="861"/>
                  </a:lnTo>
                  <a:lnTo>
                    <a:pt x="488" y="920"/>
                  </a:lnTo>
                  <a:lnTo>
                    <a:pt x="486" y="978"/>
                  </a:lnTo>
                  <a:lnTo>
                    <a:pt x="491" y="1037"/>
                  </a:lnTo>
                  <a:lnTo>
                    <a:pt x="495" y="1066"/>
                  </a:lnTo>
                  <a:lnTo>
                    <a:pt x="501" y="1095"/>
                  </a:lnTo>
                  <a:lnTo>
                    <a:pt x="516" y="1152"/>
                  </a:lnTo>
                  <a:lnTo>
                    <a:pt x="538" y="1207"/>
                  </a:lnTo>
                  <a:lnTo>
                    <a:pt x="565" y="125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0297850" y="6211927"/>
                </a:moveTo>
                <a:lnTo>
                  <a:pt x="10297850" y="6333814"/>
                </a:lnTo>
                <a:lnTo>
                  <a:pt x="10297850" y="6455701"/>
                </a:lnTo>
                <a:lnTo>
                  <a:pt x="10297850" y="6577587"/>
                </a:lnTo>
                <a:lnTo>
                  <a:pt x="10297850" y="6699474"/>
                </a:lnTo>
                <a:lnTo>
                  <a:pt x="10389125" y="6699474"/>
                </a:lnTo>
                <a:lnTo>
                  <a:pt x="10480540" y="6699474"/>
                </a:lnTo>
                <a:lnTo>
                  <a:pt x="10572095" y="6699474"/>
                </a:lnTo>
                <a:lnTo>
                  <a:pt x="10663510" y="6699474"/>
                </a:lnTo>
                <a:lnTo>
                  <a:pt x="10754785" y="6699474"/>
                </a:lnTo>
                <a:lnTo>
                  <a:pt x="10846199" y="6699474"/>
                </a:lnTo>
                <a:lnTo>
                  <a:pt x="10937754" y="6699474"/>
                </a:lnTo>
                <a:lnTo>
                  <a:pt x="11029169" y="6699474"/>
                </a:lnTo>
                <a:lnTo>
                  <a:pt x="11120444" y="6699474"/>
                </a:lnTo>
                <a:lnTo>
                  <a:pt x="11211859" y="6699474"/>
                </a:lnTo>
                <a:lnTo>
                  <a:pt x="11303274" y="6699474"/>
                </a:lnTo>
                <a:lnTo>
                  <a:pt x="11394828" y="6699474"/>
                </a:lnTo>
                <a:lnTo>
                  <a:pt x="11486104" y="6699474"/>
                </a:lnTo>
                <a:lnTo>
                  <a:pt x="11577518" y="6699474"/>
                </a:lnTo>
                <a:lnTo>
                  <a:pt x="11668933" y="6699474"/>
                </a:lnTo>
                <a:lnTo>
                  <a:pt x="11760488" y="6699474"/>
                </a:lnTo>
                <a:lnTo>
                  <a:pt x="11760488" y="6577587"/>
                </a:lnTo>
                <a:lnTo>
                  <a:pt x="11760488" y="6455701"/>
                </a:lnTo>
                <a:lnTo>
                  <a:pt x="11760488" y="6333814"/>
                </a:lnTo>
                <a:lnTo>
                  <a:pt x="11760488" y="6211927"/>
                </a:lnTo>
                <a:lnTo>
                  <a:pt x="11668933" y="6211927"/>
                </a:lnTo>
                <a:lnTo>
                  <a:pt x="11577518" y="6211927"/>
                </a:lnTo>
                <a:lnTo>
                  <a:pt x="11486104" y="6211927"/>
                </a:lnTo>
                <a:lnTo>
                  <a:pt x="11394828" y="6211927"/>
                </a:lnTo>
                <a:lnTo>
                  <a:pt x="11303274" y="6211927"/>
                </a:lnTo>
                <a:lnTo>
                  <a:pt x="11211859" y="6211927"/>
                </a:lnTo>
                <a:lnTo>
                  <a:pt x="11120444" y="6211927"/>
                </a:lnTo>
                <a:lnTo>
                  <a:pt x="11029169" y="6211927"/>
                </a:lnTo>
                <a:lnTo>
                  <a:pt x="10937754" y="6211927"/>
                </a:lnTo>
                <a:lnTo>
                  <a:pt x="10846199" y="6211927"/>
                </a:lnTo>
                <a:lnTo>
                  <a:pt x="10754785" y="6211927"/>
                </a:lnTo>
                <a:lnTo>
                  <a:pt x="10663510" y="6211927"/>
                </a:lnTo>
                <a:lnTo>
                  <a:pt x="10572095" y="6211927"/>
                </a:lnTo>
                <a:lnTo>
                  <a:pt x="10480540" y="6211927"/>
                </a:lnTo>
                <a:lnTo>
                  <a:pt x="10389125" y="6211927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AEAEA"/>
          </a:solidFill>
        </p:spPr>
        <p:txBody>
          <a:bodyPr>
            <a:normAutofit/>
          </a:bodyPr>
          <a:lstStyle>
            <a:lvl1pPr marL="0" indent="0" algn="r">
              <a:buFontTx/>
              <a:buNone/>
              <a:defRPr sz="1200"/>
            </a:lvl1pPr>
          </a:lstStyle>
          <a:p>
            <a:r>
              <a:rPr lang="nb-NO"/>
              <a:t>Klikk ikonet for å legge til et bild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50866" y="1926000"/>
            <a:ext cx="9217025" cy="1296000"/>
          </a:xfrm>
        </p:spPr>
        <p:txBody>
          <a:bodyPr anchor="t" anchorCtr="0"/>
          <a:lstStyle>
            <a:lvl1pPr algn="l">
              <a:defRPr sz="5000" b="1"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50866" y="1404000"/>
            <a:ext cx="9217025" cy="360000"/>
          </a:xfrm>
        </p:spPr>
        <p:txBody>
          <a:bodyPr anchor="b" anchorCtr="0"/>
          <a:lstStyle>
            <a:lvl1pPr marL="0" indent="0" algn="l">
              <a:buNone/>
              <a:defRPr sz="200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1007622A-B505-4192-9E07-988546934E8F}" type="datetime1">
              <a:rPr lang="en-US" smtClean="0"/>
              <a:t>5/29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6" y="4653136"/>
            <a:ext cx="9217025" cy="720552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r>
              <a:rPr lang="en-US" dirty="0"/>
              <a:t>Name / Title / Date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-2098"/>
            <a:ext cx="1299600" cy="8316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fi-FI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9272057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slide_nega_picture_2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/>
          <p:cNvGrpSpPr>
            <a:grpSpLocks noChangeAspect="1"/>
          </p:cNvGrpSpPr>
          <p:nvPr userDrawn="1"/>
        </p:nvGrpSpPr>
        <p:grpSpPr>
          <a:xfrm>
            <a:off x="10297850" y="6211927"/>
            <a:ext cx="1462638" cy="487547"/>
            <a:chOff x="10297850" y="6211927"/>
            <a:chExt cx="1462638" cy="487547"/>
          </a:xfrm>
        </p:grpSpPr>
        <p:sp>
          <p:nvSpPr>
            <p:cNvPr id="27" name="Freeform 6"/>
            <p:cNvSpPr>
              <a:spLocks/>
            </p:cNvSpPr>
            <p:nvPr userDrawn="1"/>
          </p:nvSpPr>
          <p:spPr bwMode="auto">
            <a:xfrm>
              <a:off x="10297850" y="6211927"/>
              <a:ext cx="1462638" cy="487547"/>
            </a:xfrm>
            <a:custGeom>
              <a:avLst/>
              <a:gdLst>
                <a:gd name="T0" fmla="*/ 0 w 10464"/>
                <a:gd name="T1" fmla="*/ 3488 h 3488"/>
                <a:gd name="T2" fmla="*/ 653 w 10464"/>
                <a:gd name="T3" fmla="*/ 3488 h 3488"/>
                <a:gd name="T4" fmla="*/ 1307 w 10464"/>
                <a:gd name="T5" fmla="*/ 3488 h 3488"/>
                <a:gd name="T6" fmla="*/ 1962 w 10464"/>
                <a:gd name="T7" fmla="*/ 3488 h 3488"/>
                <a:gd name="T8" fmla="*/ 2616 w 10464"/>
                <a:gd name="T9" fmla="*/ 3488 h 3488"/>
                <a:gd name="T10" fmla="*/ 3269 w 10464"/>
                <a:gd name="T11" fmla="*/ 3488 h 3488"/>
                <a:gd name="T12" fmla="*/ 3923 w 10464"/>
                <a:gd name="T13" fmla="*/ 3488 h 3488"/>
                <a:gd name="T14" fmla="*/ 4578 w 10464"/>
                <a:gd name="T15" fmla="*/ 3488 h 3488"/>
                <a:gd name="T16" fmla="*/ 5232 w 10464"/>
                <a:gd name="T17" fmla="*/ 3488 h 3488"/>
                <a:gd name="T18" fmla="*/ 5885 w 10464"/>
                <a:gd name="T19" fmla="*/ 3488 h 3488"/>
                <a:gd name="T20" fmla="*/ 6539 w 10464"/>
                <a:gd name="T21" fmla="*/ 3488 h 3488"/>
                <a:gd name="T22" fmla="*/ 7193 w 10464"/>
                <a:gd name="T23" fmla="*/ 3488 h 3488"/>
                <a:gd name="T24" fmla="*/ 7848 w 10464"/>
                <a:gd name="T25" fmla="*/ 3488 h 3488"/>
                <a:gd name="T26" fmla="*/ 8501 w 10464"/>
                <a:gd name="T27" fmla="*/ 3488 h 3488"/>
                <a:gd name="T28" fmla="*/ 9155 w 10464"/>
                <a:gd name="T29" fmla="*/ 3488 h 3488"/>
                <a:gd name="T30" fmla="*/ 9809 w 10464"/>
                <a:gd name="T31" fmla="*/ 3488 h 3488"/>
                <a:gd name="T32" fmla="*/ 10464 w 10464"/>
                <a:gd name="T33" fmla="*/ 3488 h 3488"/>
                <a:gd name="T34" fmla="*/ 10464 w 10464"/>
                <a:gd name="T35" fmla="*/ 2616 h 3488"/>
                <a:gd name="T36" fmla="*/ 10464 w 10464"/>
                <a:gd name="T37" fmla="*/ 1744 h 3488"/>
                <a:gd name="T38" fmla="*/ 10464 w 10464"/>
                <a:gd name="T39" fmla="*/ 872 h 3488"/>
                <a:gd name="T40" fmla="*/ 10464 w 10464"/>
                <a:gd name="T41" fmla="*/ 0 h 3488"/>
                <a:gd name="T42" fmla="*/ 9809 w 10464"/>
                <a:gd name="T43" fmla="*/ 0 h 3488"/>
                <a:gd name="T44" fmla="*/ 9155 w 10464"/>
                <a:gd name="T45" fmla="*/ 0 h 3488"/>
                <a:gd name="T46" fmla="*/ 8501 w 10464"/>
                <a:gd name="T47" fmla="*/ 0 h 3488"/>
                <a:gd name="T48" fmla="*/ 7848 w 10464"/>
                <a:gd name="T49" fmla="*/ 0 h 3488"/>
                <a:gd name="T50" fmla="*/ 7193 w 10464"/>
                <a:gd name="T51" fmla="*/ 0 h 3488"/>
                <a:gd name="T52" fmla="*/ 6539 w 10464"/>
                <a:gd name="T53" fmla="*/ 0 h 3488"/>
                <a:gd name="T54" fmla="*/ 5885 w 10464"/>
                <a:gd name="T55" fmla="*/ 0 h 3488"/>
                <a:gd name="T56" fmla="*/ 5232 w 10464"/>
                <a:gd name="T57" fmla="*/ 0 h 3488"/>
                <a:gd name="T58" fmla="*/ 4578 w 10464"/>
                <a:gd name="T59" fmla="*/ 0 h 3488"/>
                <a:gd name="T60" fmla="*/ 3923 w 10464"/>
                <a:gd name="T61" fmla="*/ 0 h 3488"/>
                <a:gd name="T62" fmla="*/ 3269 w 10464"/>
                <a:gd name="T63" fmla="*/ 0 h 3488"/>
                <a:gd name="T64" fmla="*/ 2616 w 10464"/>
                <a:gd name="T65" fmla="*/ 0 h 3488"/>
                <a:gd name="T66" fmla="*/ 1962 w 10464"/>
                <a:gd name="T67" fmla="*/ 0 h 3488"/>
                <a:gd name="T68" fmla="*/ 1307 w 10464"/>
                <a:gd name="T69" fmla="*/ 0 h 3488"/>
                <a:gd name="T70" fmla="*/ 653 w 10464"/>
                <a:gd name="T71" fmla="*/ 0 h 3488"/>
                <a:gd name="T72" fmla="*/ 0 w 10464"/>
                <a:gd name="T73" fmla="*/ 0 h 3488"/>
                <a:gd name="T74" fmla="*/ 0 w 10464"/>
                <a:gd name="T75" fmla="*/ 872 h 3488"/>
                <a:gd name="T76" fmla="*/ 0 w 10464"/>
                <a:gd name="T77" fmla="*/ 1744 h 3488"/>
                <a:gd name="T78" fmla="*/ 0 w 10464"/>
                <a:gd name="T79" fmla="*/ 2616 h 3488"/>
                <a:gd name="T80" fmla="*/ 0 w 10464"/>
                <a:gd name="T81" fmla="*/ 3488 h 3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0464" h="3488">
                  <a:moveTo>
                    <a:pt x="0" y="3488"/>
                  </a:moveTo>
                  <a:lnTo>
                    <a:pt x="653" y="3488"/>
                  </a:lnTo>
                  <a:lnTo>
                    <a:pt x="1307" y="3488"/>
                  </a:lnTo>
                  <a:lnTo>
                    <a:pt x="1962" y="3488"/>
                  </a:lnTo>
                  <a:lnTo>
                    <a:pt x="2616" y="3488"/>
                  </a:lnTo>
                  <a:lnTo>
                    <a:pt x="3269" y="3488"/>
                  </a:lnTo>
                  <a:lnTo>
                    <a:pt x="3923" y="3488"/>
                  </a:lnTo>
                  <a:lnTo>
                    <a:pt x="4578" y="3488"/>
                  </a:lnTo>
                  <a:lnTo>
                    <a:pt x="5232" y="3488"/>
                  </a:lnTo>
                  <a:lnTo>
                    <a:pt x="5885" y="3488"/>
                  </a:lnTo>
                  <a:lnTo>
                    <a:pt x="6539" y="3488"/>
                  </a:lnTo>
                  <a:lnTo>
                    <a:pt x="7193" y="3488"/>
                  </a:lnTo>
                  <a:lnTo>
                    <a:pt x="7848" y="3488"/>
                  </a:lnTo>
                  <a:lnTo>
                    <a:pt x="8501" y="3488"/>
                  </a:lnTo>
                  <a:lnTo>
                    <a:pt x="9155" y="3488"/>
                  </a:lnTo>
                  <a:lnTo>
                    <a:pt x="9809" y="3488"/>
                  </a:lnTo>
                  <a:lnTo>
                    <a:pt x="10464" y="3488"/>
                  </a:lnTo>
                  <a:lnTo>
                    <a:pt x="10464" y="2616"/>
                  </a:lnTo>
                  <a:lnTo>
                    <a:pt x="10464" y="1744"/>
                  </a:lnTo>
                  <a:lnTo>
                    <a:pt x="10464" y="872"/>
                  </a:lnTo>
                  <a:lnTo>
                    <a:pt x="10464" y="0"/>
                  </a:lnTo>
                  <a:lnTo>
                    <a:pt x="9809" y="0"/>
                  </a:lnTo>
                  <a:lnTo>
                    <a:pt x="9155" y="0"/>
                  </a:lnTo>
                  <a:lnTo>
                    <a:pt x="8501" y="0"/>
                  </a:lnTo>
                  <a:lnTo>
                    <a:pt x="7848" y="0"/>
                  </a:lnTo>
                  <a:lnTo>
                    <a:pt x="7193" y="0"/>
                  </a:lnTo>
                  <a:lnTo>
                    <a:pt x="6539" y="0"/>
                  </a:lnTo>
                  <a:lnTo>
                    <a:pt x="5885" y="0"/>
                  </a:lnTo>
                  <a:lnTo>
                    <a:pt x="5232" y="0"/>
                  </a:lnTo>
                  <a:lnTo>
                    <a:pt x="4578" y="0"/>
                  </a:lnTo>
                  <a:lnTo>
                    <a:pt x="3923" y="0"/>
                  </a:lnTo>
                  <a:lnTo>
                    <a:pt x="3269" y="0"/>
                  </a:lnTo>
                  <a:lnTo>
                    <a:pt x="2616" y="0"/>
                  </a:lnTo>
                  <a:lnTo>
                    <a:pt x="1962" y="0"/>
                  </a:lnTo>
                  <a:lnTo>
                    <a:pt x="1307" y="0"/>
                  </a:lnTo>
                  <a:lnTo>
                    <a:pt x="653" y="0"/>
                  </a:lnTo>
                  <a:lnTo>
                    <a:pt x="0" y="0"/>
                  </a:lnTo>
                  <a:lnTo>
                    <a:pt x="0" y="872"/>
                  </a:lnTo>
                  <a:lnTo>
                    <a:pt x="0" y="1744"/>
                  </a:lnTo>
                  <a:lnTo>
                    <a:pt x="0" y="2616"/>
                  </a:lnTo>
                  <a:lnTo>
                    <a:pt x="0" y="348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8" name="Freeform 7"/>
            <p:cNvSpPr>
              <a:spLocks noEditPoints="1"/>
            </p:cNvSpPr>
            <p:nvPr userDrawn="1"/>
          </p:nvSpPr>
          <p:spPr bwMode="auto">
            <a:xfrm>
              <a:off x="10419386" y="6306922"/>
              <a:ext cx="1218166" cy="286381"/>
            </a:xfrm>
            <a:custGeom>
              <a:avLst/>
              <a:gdLst>
                <a:gd name="T0" fmla="*/ 3454 w 8720"/>
                <a:gd name="T1" fmla="*/ 1049 h 2050"/>
                <a:gd name="T2" fmla="*/ 3166 w 8720"/>
                <a:gd name="T3" fmla="*/ 1051 h 2050"/>
                <a:gd name="T4" fmla="*/ 3068 w 8720"/>
                <a:gd name="T5" fmla="*/ 1409 h 2050"/>
                <a:gd name="T6" fmla="*/ 3261 w 8720"/>
                <a:gd name="T7" fmla="*/ 1675 h 2050"/>
                <a:gd name="T8" fmla="*/ 3519 w 8720"/>
                <a:gd name="T9" fmla="*/ 1539 h 2050"/>
                <a:gd name="T10" fmla="*/ 3863 w 8720"/>
                <a:gd name="T11" fmla="*/ 1565 h 2050"/>
                <a:gd name="T12" fmla="*/ 3603 w 8720"/>
                <a:gd name="T13" fmla="*/ 1898 h 2050"/>
                <a:gd name="T14" fmla="*/ 3188 w 8720"/>
                <a:gd name="T15" fmla="*/ 1959 h 2050"/>
                <a:gd name="T16" fmla="*/ 2786 w 8720"/>
                <a:gd name="T17" fmla="*/ 1655 h 2050"/>
                <a:gd name="T18" fmla="*/ 2732 w 8720"/>
                <a:gd name="T19" fmla="*/ 1207 h 2050"/>
                <a:gd name="T20" fmla="*/ 3018 w 8720"/>
                <a:gd name="T21" fmla="*/ 786 h 2050"/>
                <a:gd name="T22" fmla="*/ 3503 w 8720"/>
                <a:gd name="T23" fmla="*/ 740 h 2050"/>
                <a:gd name="T24" fmla="*/ 3857 w 8720"/>
                <a:gd name="T25" fmla="*/ 1088 h 2050"/>
                <a:gd name="T26" fmla="*/ 4586 w 8720"/>
                <a:gd name="T27" fmla="*/ 1045 h 2050"/>
                <a:gd name="T28" fmla="*/ 4361 w 8720"/>
                <a:gd name="T29" fmla="*/ 1327 h 2050"/>
                <a:gd name="T30" fmla="*/ 4391 w 8720"/>
                <a:gd name="T31" fmla="*/ 895 h 2050"/>
                <a:gd name="T32" fmla="*/ 4703 w 8720"/>
                <a:gd name="T33" fmla="*/ 728 h 2050"/>
                <a:gd name="T34" fmla="*/ 5384 w 8720"/>
                <a:gd name="T35" fmla="*/ 1679 h 2050"/>
                <a:gd name="T36" fmla="*/ 5258 w 8720"/>
                <a:gd name="T37" fmla="*/ 1026 h 2050"/>
                <a:gd name="T38" fmla="*/ 4962 w 8720"/>
                <a:gd name="T39" fmla="*/ 1758 h 2050"/>
                <a:gd name="T40" fmla="*/ 5374 w 8720"/>
                <a:gd name="T41" fmla="*/ 1960 h 2050"/>
                <a:gd name="T42" fmla="*/ 6441 w 8720"/>
                <a:gd name="T43" fmla="*/ 1538 h 2050"/>
                <a:gd name="T44" fmla="*/ 6231 w 8720"/>
                <a:gd name="T45" fmla="*/ 1676 h 2050"/>
                <a:gd name="T46" fmla="*/ 6056 w 8720"/>
                <a:gd name="T47" fmla="*/ 1487 h 2050"/>
                <a:gd name="T48" fmla="*/ 5746 w 8720"/>
                <a:gd name="T49" fmla="*/ 1671 h 2050"/>
                <a:gd name="T50" fmla="*/ 5949 w 8720"/>
                <a:gd name="T51" fmla="*/ 1899 h 2050"/>
                <a:gd name="T52" fmla="*/ 6505 w 8720"/>
                <a:gd name="T53" fmla="*/ 1921 h 2050"/>
                <a:gd name="T54" fmla="*/ 6769 w 8720"/>
                <a:gd name="T55" fmla="*/ 1628 h 2050"/>
                <a:gd name="T56" fmla="*/ 8698 w 8720"/>
                <a:gd name="T57" fmla="*/ 985 h 2050"/>
                <a:gd name="T58" fmla="*/ 8484 w 8720"/>
                <a:gd name="T59" fmla="*/ 747 h 2050"/>
                <a:gd name="T60" fmla="*/ 8083 w 8720"/>
                <a:gd name="T61" fmla="*/ 806 h 2050"/>
                <a:gd name="T62" fmla="*/ 7885 w 8720"/>
                <a:gd name="T63" fmla="*/ 840 h 2050"/>
                <a:gd name="T64" fmla="*/ 7630 w 8720"/>
                <a:gd name="T65" fmla="*/ 721 h 2050"/>
                <a:gd name="T66" fmla="*/ 7324 w 8720"/>
                <a:gd name="T67" fmla="*/ 871 h 2050"/>
                <a:gd name="T68" fmla="*/ 7270 w 8720"/>
                <a:gd name="T69" fmla="*/ 1283 h 2050"/>
                <a:gd name="T70" fmla="*/ 7447 w 8720"/>
                <a:gd name="T71" fmla="*/ 1034 h 2050"/>
                <a:gd name="T72" fmla="*/ 7645 w 8720"/>
                <a:gd name="T73" fmla="*/ 1211 h 2050"/>
                <a:gd name="T74" fmla="*/ 8034 w 8720"/>
                <a:gd name="T75" fmla="*/ 1138 h 2050"/>
                <a:gd name="T76" fmla="*/ 8289 w 8720"/>
                <a:gd name="T77" fmla="*/ 1046 h 2050"/>
                <a:gd name="T78" fmla="*/ 8377 w 8720"/>
                <a:gd name="T79" fmla="*/ 1938 h 2050"/>
                <a:gd name="T80" fmla="*/ 2458 w 8720"/>
                <a:gd name="T81" fmla="*/ 483 h 2050"/>
                <a:gd name="T82" fmla="*/ 2107 w 8720"/>
                <a:gd name="T83" fmla="*/ 1483 h 2050"/>
                <a:gd name="T84" fmla="*/ 2152 w 8720"/>
                <a:gd name="T85" fmla="*/ 299 h 2050"/>
                <a:gd name="T86" fmla="*/ 2419 w 8720"/>
                <a:gd name="T87" fmla="*/ 83 h 2050"/>
                <a:gd name="T88" fmla="*/ 2622 w 8720"/>
                <a:gd name="T89" fmla="*/ 369 h 2050"/>
                <a:gd name="T90" fmla="*/ 1130 w 8720"/>
                <a:gd name="T91" fmla="*/ 2050 h 2050"/>
                <a:gd name="T92" fmla="*/ 570 w 8720"/>
                <a:gd name="T93" fmla="*/ 1915 h 2050"/>
                <a:gd name="T94" fmla="*/ 120 w 8720"/>
                <a:gd name="T95" fmla="*/ 1452 h 2050"/>
                <a:gd name="T96" fmla="*/ 8 w 8720"/>
                <a:gd name="T97" fmla="*/ 822 h 2050"/>
                <a:gd name="T98" fmla="*/ 222 w 8720"/>
                <a:gd name="T99" fmla="*/ 289 h 2050"/>
                <a:gd name="T100" fmla="*/ 690 w 8720"/>
                <a:gd name="T101" fmla="*/ 389 h 2050"/>
                <a:gd name="T102" fmla="*/ 424 w 8720"/>
                <a:gd name="T103" fmla="*/ 782 h 2050"/>
                <a:gd name="T104" fmla="*/ 460 w 8720"/>
                <a:gd name="T105" fmla="*/ 1242 h 2050"/>
                <a:gd name="T106" fmla="*/ 783 w 8720"/>
                <a:gd name="T107" fmla="*/ 1573 h 2050"/>
                <a:gd name="T108" fmla="*/ 1246 w 8720"/>
                <a:gd name="T109" fmla="*/ 1632 h 2050"/>
                <a:gd name="T110" fmla="*/ 745 w 8720"/>
                <a:gd name="T111" fmla="*/ 1453 h 2050"/>
                <a:gd name="T112" fmla="*/ 1347 w 8720"/>
                <a:gd name="T113" fmla="*/ 1509 h 2050"/>
                <a:gd name="T114" fmla="*/ 1693 w 8720"/>
                <a:gd name="T115" fmla="*/ 1099 h 2050"/>
                <a:gd name="T116" fmla="*/ 1523 w 8720"/>
                <a:gd name="T117" fmla="*/ 505 h 2050"/>
                <a:gd name="T118" fmla="*/ 1152 w 8720"/>
                <a:gd name="T119" fmla="*/ 342 h 2050"/>
                <a:gd name="T120" fmla="*/ 691 w 8720"/>
                <a:gd name="T121" fmla="*/ 497 h 2050"/>
                <a:gd name="T122" fmla="*/ 491 w 8720"/>
                <a:gd name="T123" fmla="*/ 1037 h 2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720" h="2050">
                  <a:moveTo>
                    <a:pt x="3554" y="1338"/>
                  </a:moveTo>
                  <a:lnTo>
                    <a:pt x="3553" y="1299"/>
                  </a:lnTo>
                  <a:lnTo>
                    <a:pt x="3550" y="1263"/>
                  </a:lnTo>
                  <a:lnTo>
                    <a:pt x="3546" y="1228"/>
                  </a:lnTo>
                  <a:lnTo>
                    <a:pt x="3538" y="1196"/>
                  </a:lnTo>
                  <a:lnTo>
                    <a:pt x="3529" y="1165"/>
                  </a:lnTo>
                  <a:lnTo>
                    <a:pt x="3518" y="1137"/>
                  </a:lnTo>
                  <a:lnTo>
                    <a:pt x="3511" y="1124"/>
                  </a:lnTo>
                  <a:lnTo>
                    <a:pt x="3504" y="1112"/>
                  </a:lnTo>
                  <a:lnTo>
                    <a:pt x="3490" y="1088"/>
                  </a:lnTo>
                  <a:lnTo>
                    <a:pt x="3473" y="1068"/>
                  </a:lnTo>
                  <a:lnTo>
                    <a:pt x="3454" y="1049"/>
                  </a:lnTo>
                  <a:lnTo>
                    <a:pt x="3436" y="1034"/>
                  </a:lnTo>
                  <a:lnTo>
                    <a:pt x="3413" y="1022"/>
                  </a:lnTo>
                  <a:lnTo>
                    <a:pt x="3390" y="1012"/>
                  </a:lnTo>
                  <a:lnTo>
                    <a:pt x="3366" y="1004"/>
                  </a:lnTo>
                  <a:lnTo>
                    <a:pt x="3339" y="1000"/>
                  </a:lnTo>
                  <a:lnTo>
                    <a:pt x="3311" y="998"/>
                  </a:lnTo>
                  <a:lnTo>
                    <a:pt x="3283" y="1000"/>
                  </a:lnTo>
                  <a:lnTo>
                    <a:pt x="3257" y="1004"/>
                  </a:lnTo>
                  <a:lnTo>
                    <a:pt x="3232" y="1012"/>
                  </a:lnTo>
                  <a:lnTo>
                    <a:pt x="3209" y="1022"/>
                  </a:lnTo>
                  <a:lnTo>
                    <a:pt x="3187" y="1035"/>
                  </a:lnTo>
                  <a:lnTo>
                    <a:pt x="3166" y="1051"/>
                  </a:lnTo>
                  <a:lnTo>
                    <a:pt x="3148" y="1069"/>
                  </a:lnTo>
                  <a:lnTo>
                    <a:pt x="3130" y="1091"/>
                  </a:lnTo>
                  <a:lnTo>
                    <a:pt x="3116" y="1114"/>
                  </a:lnTo>
                  <a:lnTo>
                    <a:pt x="3102" y="1139"/>
                  </a:lnTo>
                  <a:lnTo>
                    <a:pt x="3090" y="1167"/>
                  </a:lnTo>
                  <a:lnTo>
                    <a:pt x="3081" y="1197"/>
                  </a:lnTo>
                  <a:lnTo>
                    <a:pt x="3073" y="1228"/>
                  </a:lnTo>
                  <a:lnTo>
                    <a:pt x="3068" y="1263"/>
                  </a:lnTo>
                  <a:lnTo>
                    <a:pt x="3065" y="1298"/>
                  </a:lnTo>
                  <a:lnTo>
                    <a:pt x="3063" y="1336"/>
                  </a:lnTo>
                  <a:lnTo>
                    <a:pt x="3065" y="1374"/>
                  </a:lnTo>
                  <a:lnTo>
                    <a:pt x="3068" y="1409"/>
                  </a:lnTo>
                  <a:lnTo>
                    <a:pt x="3073" y="1444"/>
                  </a:lnTo>
                  <a:lnTo>
                    <a:pt x="3081" y="1477"/>
                  </a:lnTo>
                  <a:lnTo>
                    <a:pt x="3091" y="1507"/>
                  </a:lnTo>
                  <a:lnTo>
                    <a:pt x="3102" y="1536"/>
                  </a:lnTo>
                  <a:lnTo>
                    <a:pt x="3117" y="1562"/>
                  </a:lnTo>
                  <a:lnTo>
                    <a:pt x="3132" y="1586"/>
                  </a:lnTo>
                  <a:lnTo>
                    <a:pt x="3149" y="1607"/>
                  </a:lnTo>
                  <a:lnTo>
                    <a:pt x="3169" y="1626"/>
                  </a:lnTo>
                  <a:lnTo>
                    <a:pt x="3189" y="1643"/>
                  </a:lnTo>
                  <a:lnTo>
                    <a:pt x="3211" y="1656"/>
                  </a:lnTo>
                  <a:lnTo>
                    <a:pt x="3236" y="1667"/>
                  </a:lnTo>
                  <a:lnTo>
                    <a:pt x="3261" y="1675"/>
                  </a:lnTo>
                  <a:lnTo>
                    <a:pt x="3288" y="1679"/>
                  </a:lnTo>
                  <a:lnTo>
                    <a:pt x="3317" y="1680"/>
                  </a:lnTo>
                  <a:lnTo>
                    <a:pt x="3343" y="1679"/>
                  </a:lnTo>
                  <a:lnTo>
                    <a:pt x="3369" y="1675"/>
                  </a:lnTo>
                  <a:lnTo>
                    <a:pt x="3393" y="1667"/>
                  </a:lnTo>
                  <a:lnTo>
                    <a:pt x="3417" y="1657"/>
                  </a:lnTo>
                  <a:lnTo>
                    <a:pt x="3438" y="1644"/>
                  </a:lnTo>
                  <a:lnTo>
                    <a:pt x="3458" y="1628"/>
                  </a:lnTo>
                  <a:lnTo>
                    <a:pt x="3476" y="1609"/>
                  </a:lnTo>
                  <a:lnTo>
                    <a:pt x="3491" y="1588"/>
                  </a:lnTo>
                  <a:lnTo>
                    <a:pt x="3506" y="1565"/>
                  </a:lnTo>
                  <a:lnTo>
                    <a:pt x="3519" y="1539"/>
                  </a:lnTo>
                  <a:lnTo>
                    <a:pt x="3529" y="1512"/>
                  </a:lnTo>
                  <a:lnTo>
                    <a:pt x="3538" y="1480"/>
                  </a:lnTo>
                  <a:lnTo>
                    <a:pt x="3546" y="1448"/>
                  </a:lnTo>
                  <a:lnTo>
                    <a:pt x="3550" y="1414"/>
                  </a:lnTo>
                  <a:lnTo>
                    <a:pt x="3553" y="1377"/>
                  </a:lnTo>
                  <a:lnTo>
                    <a:pt x="3554" y="1338"/>
                  </a:lnTo>
                  <a:close/>
                  <a:moveTo>
                    <a:pt x="3897" y="1340"/>
                  </a:moveTo>
                  <a:lnTo>
                    <a:pt x="3893" y="1408"/>
                  </a:lnTo>
                  <a:lnTo>
                    <a:pt x="3885" y="1474"/>
                  </a:lnTo>
                  <a:lnTo>
                    <a:pt x="3880" y="1505"/>
                  </a:lnTo>
                  <a:lnTo>
                    <a:pt x="3872" y="1536"/>
                  </a:lnTo>
                  <a:lnTo>
                    <a:pt x="3863" y="1565"/>
                  </a:lnTo>
                  <a:lnTo>
                    <a:pt x="3853" y="1595"/>
                  </a:lnTo>
                  <a:lnTo>
                    <a:pt x="3843" y="1623"/>
                  </a:lnTo>
                  <a:lnTo>
                    <a:pt x="3831" y="1649"/>
                  </a:lnTo>
                  <a:lnTo>
                    <a:pt x="3803" y="1701"/>
                  </a:lnTo>
                  <a:lnTo>
                    <a:pt x="3771" y="1749"/>
                  </a:lnTo>
                  <a:lnTo>
                    <a:pt x="3753" y="1773"/>
                  </a:lnTo>
                  <a:lnTo>
                    <a:pt x="3734" y="1794"/>
                  </a:lnTo>
                  <a:lnTo>
                    <a:pt x="3716" y="1814"/>
                  </a:lnTo>
                  <a:lnTo>
                    <a:pt x="3694" y="1834"/>
                  </a:lnTo>
                  <a:lnTo>
                    <a:pt x="3650" y="1868"/>
                  </a:lnTo>
                  <a:lnTo>
                    <a:pt x="3627" y="1884"/>
                  </a:lnTo>
                  <a:lnTo>
                    <a:pt x="3603" y="1898"/>
                  </a:lnTo>
                  <a:lnTo>
                    <a:pt x="3552" y="1924"/>
                  </a:lnTo>
                  <a:lnTo>
                    <a:pt x="3526" y="1935"/>
                  </a:lnTo>
                  <a:lnTo>
                    <a:pt x="3498" y="1944"/>
                  </a:lnTo>
                  <a:lnTo>
                    <a:pt x="3470" y="1951"/>
                  </a:lnTo>
                  <a:lnTo>
                    <a:pt x="3441" y="1958"/>
                  </a:lnTo>
                  <a:lnTo>
                    <a:pt x="3411" y="1964"/>
                  </a:lnTo>
                  <a:lnTo>
                    <a:pt x="3381" y="1967"/>
                  </a:lnTo>
                  <a:lnTo>
                    <a:pt x="3319" y="1970"/>
                  </a:lnTo>
                  <a:lnTo>
                    <a:pt x="3285" y="1969"/>
                  </a:lnTo>
                  <a:lnTo>
                    <a:pt x="3252" y="1967"/>
                  </a:lnTo>
                  <a:lnTo>
                    <a:pt x="3220" y="1964"/>
                  </a:lnTo>
                  <a:lnTo>
                    <a:pt x="3188" y="1959"/>
                  </a:lnTo>
                  <a:lnTo>
                    <a:pt x="3158" y="1953"/>
                  </a:lnTo>
                  <a:lnTo>
                    <a:pt x="3128" y="1945"/>
                  </a:lnTo>
                  <a:lnTo>
                    <a:pt x="3071" y="1926"/>
                  </a:lnTo>
                  <a:lnTo>
                    <a:pt x="3018" y="1901"/>
                  </a:lnTo>
                  <a:lnTo>
                    <a:pt x="2993" y="1887"/>
                  </a:lnTo>
                  <a:lnTo>
                    <a:pt x="2969" y="1871"/>
                  </a:lnTo>
                  <a:lnTo>
                    <a:pt x="2924" y="1837"/>
                  </a:lnTo>
                  <a:lnTo>
                    <a:pt x="2882" y="1798"/>
                  </a:lnTo>
                  <a:lnTo>
                    <a:pt x="2864" y="1777"/>
                  </a:lnTo>
                  <a:lnTo>
                    <a:pt x="2846" y="1755"/>
                  </a:lnTo>
                  <a:lnTo>
                    <a:pt x="2814" y="1707"/>
                  </a:lnTo>
                  <a:lnTo>
                    <a:pt x="2786" y="1655"/>
                  </a:lnTo>
                  <a:lnTo>
                    <a:pt x="2775" y="1627"/>
                  </a:lnTo>
                  <a:lnTo>
                    <a:pt x="2764" y="1598"/>
                  </a:lnTo>
                  <a:lnTo>
                    <a:pt x="2754" y="1569"/>
                  </a:lnTo>
                  <a:lnTo>
                    <a:pt x="2746" y="1538"/>
                  </a:lnTo>
                  <a:lnTo>
                    <a:pt x="2738" y="1507"/>
                  </a:lnTo>
                  <a:lnTo>
                    <a:pt x="2732" y="1474"/>
                  </a:lnTo>
                  <a:lnTo>
                    <a:pt x="2728" y="1440"/>
                  </a:lnTo>
                  <a:lnTo>
                    <a:pt x="2725" y="1407"/>
                  </a:lnTo>
                  <a:lnTo>
                    <a:pt x="2722" y="1372"/>
                  </a:lnTo>
                  <a:lnTo>
                    <a:pt x="2721" y="1336"/>
                  </a:lnTo>
                  <a:lnTo>
                    <a:pt x="2725" y="1271"/>
                  </a:lnTo>
                  <a:lnTo>
                    <a:pt x="2732" y="1207"/>
                  </a:lnTo>
                  <a:lnTo>
                    <a:pt x="2738" y="1177"/>
                  </a:lnTo>
                  <a:lnTo>
                    <a:pt x="2746" y="1147"/>
                  </a:lnTo>
                  <a:lnTo>
                    <a:pt x="2764" y="1089"/>
                  </a:lnTo>
                  <a:lnTo>
                    <a:pt x="2775" y="1062"/>
                  </a:lnTo>
                  <a:lnTo>
                    <a:pt x="2787" y="1035"/>
                  </a:lnTo>
                  <a:lnTo>
                    <a:pt x="2815" y="983"/>
                  </a:lnTo>
                  <a:lnTo>
                    <a:pt x="2847" y="936"/>
                  </a:lnTo>
                  <a:lnTo>
                    <a:pt x="2865" y="913"/>
                  </a:lnTo>
                  <a:lnTo>
                    <a:pt x="2884" y="892"/>
                  </a:lnTo>
                  <a:lnTo>
                    <a:pt x="2925" y="852"/>
                  </a:lnTo>
                  <a:lnTo>
                    <a:pt x="2969" y="817"/>
                  </a:lnTo>
                  <a:lnTo>
                    <a:pt x="3018" y="786"/>
                  </a:lnTo>
                  <a:lnTo>
                    <a:pt x="3070" y="761"/>
                  </a:lnTo>
                  <a:lnTo>
                    <a:pt x="3098" y="750"/>
                  </a:lnTo>
                  <a:lnTo>
                    <a:pt x="3126" y="741"/>
                  </a:lnTo>
                  <a:lnTo>
                    <a:pt x="3155" y="732"/>
                  </a:lnTo>
                  <a:lnTo>
                    <a:pt x="3185" y="725"/>
                  </a:lnTo>
                  <a:lnTo>
                    <a:pt x="3216" y="721"/>
                  </a:lnTo>
                  <a:lnTo>
                    <a:pt x="3247" y="716"/>
                  </a:lnTo>
                  <a:lnTo>
                    <a:pt x="3311" y="713"/>
                  </a:lnTo>
                  <a:lnTo>
                    <a:pt x="3379" y="716"/>
                  </a:lnTo>
                  <a:lnTo>
                    <a:pt x="3411" y="720"/>
                  </a:lnTo>
                  <a:lnTo>
                    <a:pt x="3443" y="725"/>
                  </a:lnTo>
                  <a:lnTo>
                    <a:pt x="3503" y="740"/>
                  </a:lnTo>
                  <a:lnTo>
                    <a:pt x="3559" y="760"/>
                  </a:lnTo>
                  <a:lnTo>
                    <a:pt x="3586" y="772"/>
                  </a:lnTo>
                  <a:lnTo>
                    <a:pt x="3611" y="785"/>
                  </a:lnTo>
                  <a:lnTo>
                    <a:pt x="3636" y="800"/>
                  </a:lnTo>
                  <a:lnTo>
                    <a:pt x="3660" y="815"/>
                  </a:lnTo>
                  <a:lnTo>
                    <a:pt x="3703" y="851"/>
                  </a:lnTo>
                  <a:lnTo>
                    <a:pt x="3723" y="870"/>
                  </a:lnTo>
                  <a:lnTo>
                    <a:pt x="3743" y="890"/>
                  </a:lnTo>
                  <a:lnTo>
                    <a:pt x="3778" y="934"/>
                  </a:lnTo>
                  <a:lnTo>
                    <a:pt x="3809" y="982"/>
                  </a:lnTo>
                  <a:lnTo>
                    <a:pt x="3835" y="1033"/>
                  </a:lnTo>
                  <a:lnTo>
                    <a:pt x="3857" y="1088"/>
                  </a:lnTo>
                  <a:lnTo>
                    <a:pt x="3867" y="1117"/>
                  </a:lnTo>
                  <a:lnTo>
                    <a:pt x="3874" y="1147"/>
                  </a:lnTo>
                  <a:lnTo>
                    <a:pt x="3887" y="1208"/>
                  </a:lnTo>
                  <a:lnTo>
                    <a:pt x="3894" y="1273"/>
                  </a:lnTo>
                  <a:lnTo>
                    <a:pt x="3897" y="1340"/>
                  </a:lnTo>
                  <a:close/>
                  <a:moveTo>
                    <a:pt x="4810" y="1073"/>
                  </a:moveTo>
                  <a:lnTo>
                    <a:pt x="4769" y="1056"/>
                  </a:lnTo>
                  <a:lnTo>
                    <a:pt x="4732" y="1045"/>
                  </a:lnTo>
                  <a:lnTo>
                    <a:pt x="4694" y="1039"/>
                  </a:lnTo>
                  <a:lnTo>
                    <a:pt x="4653" y="1038"/>
                  </a:lnTo>
                  <a:lnTo>
                    <a:pt x="4619" y="1039"/>
                  </a:lnTo>
                  <a:lnTo>
                    <a:pt x="4586" y="1045"/>
                  </a:lnTo>
                  <a:lnTo>
                    <a:pt x="4555" y="1053"/>
                  </a:lnTo>
                  <a:lnTo>
                    <a:pt x="4526" y="1064"/>
                  </a:lnTo>
                  <a:lnTo>
                    <a:pt x="4501" y="1078"/>
                  </a:lnTo>
                  <a:lnTo>
                    <a:pt x="4476" y="1095"/>
                  </a:lnTo>
                  <a:lnTo>
                    <a:pt x="4453" y="1115"/>
                  </a:lnTo>
                  <a:lnTo>
                    <a:pt x="4433" y="1137"/>
                  </a:lnTo>
                  <a:lnTo>
                    <a:pt x="4415" y="1163"/>
                  </a:lnTo>
                  <a:lnTo>
                    <a:pt x="4400" y="1191"/>
                  </a:lnTo>
                  <a:lnTo>
                    <a:pt x="4386" y="1222"/>
                  </a:lnTo>
                  <a:lnTo>
                    <a:pt x="4375" y="1254"/>
                  </a:lnTo>
                  <a:lnTo>
                    <a:pt x="4366" y="1289"/>
                  </a:lnTo>
                  <a:lnTo>
                    <a:pt x="4361" y="1327"/>
                  </a:lnTo>
                  <a:lnTo>
                    <a:pt x="4356" y="1367"/>
                  </a:lnTo>
                  <a:lnTo>
                    <a:pt x="4355" y="1408"/>
                  </a:lnTo>
                  <a:lnTo>
                    <a:pt x="4355" y="1938"/>
                  </a:lnTo>
                  <a:lnTo>
                    <a:pt x="4017" y="1938"/>
                  </a:lnTo>
                  <a:lnTo>
                    <a:pt x="4017" y="1342"/>
                  </a:lnTo>
                  <a:lnTo>
                    <a:pt x="4017" y="746"/>
                  </a:lnTo>
                  <a:lnTo>
                    <a:pt x="4343" y="746"/>
                  </a:lnTo>
                  <a:lnTo>
                    <a:pt x="4343" y="1017"/>
                  </a:lnTo>
                  <a:lnTo>
                    <a:pt x="4352" y="984"/>
                  </a:lnTo>
                  <a:lnTo>
                    <a:pt x="4363" y="953"/>
                  </a:lnTo>
                  <a:lnTo>
                    <a:pt x="4375" y="923"/>
                  </a:lnTo>
                  <a:lnTo>
                    <a:pt x="4391" y="895"/>
                  </a:lnTo>
                  <a:lnTo>
                    <a:pt x="4408" y="870"/>
                  </a:lnTo>
                  <a:lnTo>
                    <a:pt x="4425" y="846"/>
                  </a:lnTo>
                  <a:lnTo>
                    <a:pt x="4446" y="824"/>
                  </a:lnTo>
                  <a:lnTo>
                    <a:pt x="4468" y="805"/>
                  </a:lnTo>
                  <a:lnTo>
                    <a:pt x="4492" y="787"/>
                  </a:lnTo>
                  <a:lnTo>
                    <a:pt x="4517" y="772"/>
                  </a:lnTo>
                  <a:lnTo>
                    <a:pt x="4544" y="758"/>
                  </a:lnTo>
                  <a:lnTo>
                    <a:pt x="4573" y="748"/>
                  </a:lnTo>
                  <a:lnTo>
                    <a:pt x="4603" y="740"/>
                  </a:lnTo>
                  <a:lnTo>
                    <a:pt x="4635" y="734"/>
                  </a:lnTo>
                  <a:lnTo>
                    <a:pt x="4669" y="730"/>
                  </a:lnTo>
                  <a:lnTo>
                    <a:pt x="4703" y="728"/>
                  </a:lnTo>
                  <a:lnTo>
                    <a:pt x="4753" y="732"/>
                  </a:lnTo>
                  <a:lnTo>
                    <a:pt x="4810" y="741"/>
                  </a:lnTo>
                  <a:lnTo>
                    <a:pt x="4810" y="1073"/>
                  </a:lnTo>
                  <a:close/>
                  <a:moveTo>
                    <a:pt x="5598" y="1938"/>
                  </a:moveTo>
                  <a:lnTo>
                    <a:pt x="5598" y="1670"/>
                  </a:lnTo>
                  <a:lnTo>
                    <a:pt x="5561" y="1678"/>
                  </a:lnTo>
                  <a:lnTo>
                    <a:pt x="5526" y="1683"/>
                  </a:lnTo>
                  <a:lnTo>
                    <a:pt x="5494" y="1685"/>
                  </a:lnTo>
                  <a:lnTo>
                    <a:pt x="5458" y="1686"/>
                  </a:lnTo>
                  <a:lnTo>
                    <a:pt x="5432" y="1685"/>
                  </a:lnTo>
                  <a:lnTo>
                    <a:pt x="5406" y="1683"/>
                  </a:lnTo>
                  <a:lnTo>
                    <a:pt x="5384" y="1679"/>
                  </a:lnTo>
                  <a:lnTo>
                    <a:pt x="5364" y="1674"/>
                  </a:lnTo>
                  <a:lnTo>
                    <a:pt x="5345" y="1667"/>
                  </a:lnTo>
                  <a:lnTo>
                    <a:pt x="5328" y="1658"/>
                  </a:lnTo>
                  <a:lnTo>
                    <a:pt x="5314" y="1648"/>
                  </a:lnTo>
                  <a:lnTo>
                    <a:pt x="5302" y="1636"/>
                  </a:lnTo>
                  <a:lnTo>
                    <a:pt x="5292" y="1622"/>
                  </a:lnTo>
                  <a:lnTo>
                    <a:pt x="5282" y="1605"/>
                  </a:lnTo>
                  <a:lnTo>
                    <a:pt x="5275" y="1587"/>
                  </a:lnTo>
                  <a:lnTo>
                    <a:pt x="5268" y="1566"/>
                  </a:lnTo>
                  <a:lnTo>
                    <a:pt x="5262" y="1517"/>
                  </a:lnTo>
                  <a:lnTo>
                    <a:pt x="5258" y="1459"/>
                  </a:lnTo>
                  <a:lnTo>
                    <a:pt x="5258" y="1026"/>
                  </a:lnTo>
                  <a:lnTo>
                    <a:pt x="5583" y="1026"/>
                  </a:lnTo>
                  <a:lnTo>
                    <a:pt x="5583" y="755"/>
                  </a:lnTo>
                  <a:lnTo>
                    <a:pt x="5258" y="755"/>
                  </a:lnTo>
                  <a:lnTo>
                    <a:pt x="5258" y="365"/>
                  </a:lnTo>
                  <a:lnTo>
                    <a:pt x="4920" y="556"/>
                  </a:lnTo>
                  <a:lnTo>
                    <a:pt x="4920" y="1037"/>
                  </a:lnTo>
                  <a:lnTo>
                    <a:pt x="4920" y="1519"/>
                  </a:lnTo>
                  <a:lnTo>
                    <a:pt x="4921" y="1575"/>
                  </a:lnTo>
                  <a:lnTo>
                    <a:pt x="4926" y="1627"/>
                  </a:lnTo>
                  <a:lnTo>
                    <a:pt x="4935" y="1674"/>
                  </a:lnTo>
                  <a:lnTo>
                    <a:pt x="4946" y="1718"/>
                  </a:lnTo>
                  <a:lnTo>
                    <a:pt x="4962" y="1758"/>
                  </a:lnTo>
                  <a:lnTo>
                    <a:pt x="4981" y="1794"/>
                  </a:lnTo>
                  <a:lnTo>
                    <a:pt x="5003" y="1826"/>
                  </a:lnTo>
                  <a:lnTo>
                    <a:pt x="5030" y="1855"/>
                  </a:lnTo>
                  <a:lnTo>
                    <a:pt x="5044" y="1868"/>
                  </a:lnTo>
                  <a:lnTo>
                    <a:pt x="5060" y="1880"/>
                  </a:lnTo>
                  <a:lnTo>
                    <a:pt x="5093" y="1901"/>
                  </a:lnTo>
                  <a:lnTo>
                    <a:pt x="5130" y="1920"/>
                  </a:lnTo>
                  <a:lnTo>
                    <a:pt x="5171" y="1935"/>
                  </a:lnTo>
                  <a:lnTo>
                    <a:pt x="5216" y="1946"/>
                  </a:lnTo>
                  <a:lnTo>
                    <a:pt x="5265" y="1954"/>
                  </a:lnTo>
                  <a:lnTo>
                    <a:pt x="5317" y="1959"/>
                  </a:lnTo>
                  <a:lnTo>
                    <a:pt x="5374" y="1960"/>
                  </a:lnTo>
                  <a:lnTo>
                    <a:pt x="5431" y="1959"/>
                  </a:lnTo>
                  <a:lnTo>
                    <a:pt x="5484" y="1956"/>
                  </a:lnTo>
                  <a:lnTo>
                    <a:pt x="5538" y="1949"/>
                  </a:lnTo>
                  <a:lnTo>
                    <a:pt x="5598" y="1938"/>
                  </a:lnTo>
                  <a:close/>
                  <a:moveTo>
                    <a:pt x="6796" y="1358"/>
                  </a:moveTo>
                  <a:lnTo>
                    <a:pt x="6796" y="746"/>
                  </a:lnTo>
                  <a:lnTo>
                    <a:pt x="6457" y="746"/>
                  </a:lnTo>
                  <a:lnTo>
                    <a:pt x="6457" y="1358"/>
                  </a:lnTo>
                  <a:lnTo>
                    <a:pt x="6455" y="1440"/>
                  </a:lnTo>
                  <a:lnTo>
                    <a:pt x="6451" y="1476"/>
                  </a:lnTo>
                  <a:lnTo>
                    <a:pt x="6447" y="1508"/>
                  </a:lnTo>
                  <a:lnTo>
                    <a:pt x="6441" y="1538"/>
                  </a:lnTo>
                  <a:lnTo>
                    <a:pt x="6435" y="1564"/>
                  </a:lnTo>
                  <a:lnTo>
                    <a:pt x="6426" y="1587"/>
                  </a:lnTo>
                  <a:lnTo>
                    <a:pt x="6415" y="1607"/>
                  </a:lnTo>
                  <a:lnTo>
                    <a:pt x="6402" y="1624"/>
                  </a:lnTo>
                  <a:lnTo>
                    <a:pt x="6388" y="1639"/>
                  </a:lnTo>
                  <a:lnTo>
                    <a:pt x="6373" y="1650"/>
                  </a:lnTo>
                  <a:lnTo>
                    <a:pt x="6355" y="1660"/>
                  </a:lnTo>
                  <a:lnTo>
                    <a:pt x="6334" y="1668"/>
                  </a:lnTo>
                  <a:lnTo>
                    <a:pt x="6311" y="1673"/>
                  </a:lnTo>
                  <a:lnTo>
                    <a:pt x="6287" y="1676"/>
                  </a:lnTo>
                  <a:lnTo>
                    <a:pt x="6259" y="1677"/>
                  </a:lnTo>
                  <a:lnTo>
                    <a:pt x="6231" y="1676"/>
                  </a:lnTo>
                  <a:lnTo>
                    <a:pt x="6206" y="1673"/>
                  </a:lnTo>
                  <a:lnTo>
                    <a:pt x="6181" y="1668"/>
                  </a:lnTo>
                  <a:lnTo>
                    <a:pt x="6160" y="1660"/>
                  </a:lnTo>
                  <a:lnTo>
                    <a:pt x="6141" y="1652"/>
                  </a:lnTo>
                  <a:lnTo>
                    <a:pt x="6124" y="1640"/>
                  </a:lnTo>
                  <a:lnTo>
                    <a:pt x="6109" y="1626"/>
                  </a:lnTo>
                  <a:lnTo>
                    <a:pt x="6096" y="1609"/>
                  </a:lnTo>
                  <a:lnTo>
                    <a:pt x="6085" y="1590"/>
                  </a:lnTo>
                  <a:lnTo>
                    <a:pt x="6075" y="1569"/>
                  </a:lnTo>
                  <a:lnTo>
                    <a:pt x="6067" y="1545"/>
                  </a:lnTo>
                  <a:lnTo>
                    <a:pt x="6060" y="1517"/>
                  </a:lnTo>
                  <a:lnTo>
                    <a:pt x="6056" y="1487"/>
                  </a:lnTo>
                  <a:lnTo>
                    <a:pt x="6053" y="1454"/>
                  </a:lnTo>
                  <a:lnTo>
                    <a:pt x="6050" y="1417"/>
                  </a:lnTo>
                  <a:lnTo>
                    <a:pt x="6049" y="1378"/>
                  </a:lnTo>
                  <a:lnTo>
                    <a:pt x="6049" y="746"/>
                  </a:lnTo>
                  <a:lnTo>
                    <a:pt x="5710" y="746"/>
                  </a:lnTo>
                  <a:lnTo>
                    <a:pt x="5710" y="1373"/>
                  </a:lnTo>
                  <a:lnTo>
                    <a:pt x="5713" y="1465"/>
                  </a:lnTo>
                  <a:lnTo>
                    <a:pt x="5715" y="1505"/>
                  </a:lnTo>
                  <a:lnTo>
                    <a:pt x="5718" y="1544"/>
                  </a:lnTo>
                  <a:lnTo>
                    <a:pt x="5729" y="1612"/>
                  </a:lnTo>
                  <a:lnTo>
                    <a:pt x="5737" y="1643"/>
                  </a:lnTo>
                  <a:lnTo>
                    <a:pt x="5746" y="1671"/>
                  </a:lnTo>
                  <a:lnTo>
                    <a:pt x="5756" y="1698"/>
                  </a:lnTo>
                  <a:lnTo>
                    <a:pt x="5768" y="1723"/>
                  </a:lnTo>
                  <a:lnTo>
                    <a:pt x="5780" y="1747"/>
                  </a:lnTo>
                  <a:lnTo>
                    <a:pt x="5796" y="1769"/>
                  </a:lnTo>
                  <a:lnTo>
                    <a:pt x="5812" y="1790"/>
                  </a:lnTo>
                  <a:lnTo>
                    <a:pt x="5830" y="1810"/>
                  </a:lnTo>
                  <a:lnTo>
                    <a:pt x="5849" y="1829"/>
                  </a:lnTo>
                  <a:lnTo>
                    <a:pt x="5872" y="1848"/>
                  </a:lnTo>
                  <a:lnTo>
                    <a:pt x="5889" y="1863"/>
                  </a:lnTo>
                  <a:lnTo>
                    <a:pt x="5908" y="1876"/>
                  </a:lnTo>
                  <a:lnTo>
                    <a:pt x="5928" y="1888"/>
                  </a:lnTo>
                  <a:lnTo>
                    <a:pt x="5949" y="1899"/>
                  </a:lnTo>
                  <a:lnTo>
                    <a:pt x="5972" y="1909"/>
                  </a:lnTo>
                  <a:lnTo>
                    <a:pt x="5994" y="1919"/>
                  </a:lnTo>
                  <a:lnTo>
                    <a:pt x="6040" y="1936"/>
                  </a:lnTo>
                  <a:lnTo>
                    <a:pt x="6091" y="1949"/>
                  </a:lnTo>
                  <a:lnTo>
                    <a:pt x="6144" y="1958"/>
                  </a:lnTo>
                  <a:lnTo>
                    <a:pt x="6199" y="1964"/>
                  </a:lnTo>
                  <a:lnTo>
                    <a:pt x="6257" y="1966"/>
                  </a:lnTo>
                  <a:lnTo>
                    <a:pt x="6325" y="1963"/>
                  </a:lnTo>
                  <a:lnTo>
                    <a:pt x="6388" y="1955"/>
                  </a:lnTo>
                  <a:lnTo>
                    <a:pt x="6419" y="1948"/>
                  </a:lnTo>
                  <a:lnTo>
                    <a:pt x="6448" y="1940"/>
                  </a:lnTo>
                  <a:lnTo>
                    <a:pt x="6505" y="1921"/>
                  </a:lnTo>
                  <a:lnTo>
                    <a:pt x="6531" y="1910"/>
                  </a:lnTo>
                  <a:lnTo>
                    <a:pt x="6557" y="1898"/>
                  </a:lnTo>
                  <a:lnTo>
                    <a:pt x="6605" y="1869"/>
                  </a:lnTo>
                  <a:lnTo>
                    <a:pt x="6626" y="1853"/>
                  </a:lnTo>
                  <a:lnTo>
                    <a:pt x="6647" y="1835"/>
                  </a:lnTo>
                  <a:lnTo>
                    <a:pt x="6667" y="1816"/>
                  </a:lnTo>
                  <a:lnTo>
                    <a:pt x="6685" y="1796"/>
                  </a:lnTo>
                  <a:lnTo>
                    <a:pt x="6699" y="1779"/>
                  </a:lnTo>
                  <a:lnTo>
                    <a:pt x="6712" y="1760"/>
                  </a:lnTo>
                  <a:lnTo>
                    <a:pt x="6735" y="1721"/>
                  </a:lnTo>
                  <a:lnTo>
                    <a:pt x="6755" y="1678"/>
                  </a:lnTo>
                  <a:lnTo>
                    <a:pt x="6769" y="1628"/>
                  </a:lnTo>
                  <a:lnTo>
                    <a:pt x="6781" y="1573"/>
                  </a:lnTo>
                  <a:lnTo>
                    <a:pt x="6786" y="1542"/>
                  </a:lnTo>
                  <a:lnTo>
                    <a:pt x="6790" y="1509"/>
                  </a:lnTo>
                  <a:lnTo>
                    <a:pt x="6795" y="1438"/>
                  </a:lnTo>
                  <a:lnTo>
                    <a:pt x="6796" y="1358"/>
                  </a:lnTo>
                  <a:close/>
                  <a:moveTo>
                    <a:pt x="8720" y="1938"/>
                  </a:moveTo>
                  <a:lnTo>
                    <a:pt x="8720" y="1254"/>
                  </a:lnTo>
                  <a:lnTo>
                    <a:pt x="8718" y="1185"/>
                  </a:lnTo>
                  <a:lnTo>
                    <a:pt x="8716" y="1124"/>
                  </a:lnTo>
                  <a:lnTo>
                    <a:pt x="8712" y="1072"/>
                  </a:lnTo>
                  <a:lnTo>
                    <a:pt x="8706" y="1025"/>
                  </a:lnTo>
                  <a:lnTo>
                    <a:pt x="8698" y="985"/>
                  </a:lnTo>
                  <a:lnTo>
                    <a:pt x="8688" y="950"/>
                  </a:lnTo>
                  <a:lnTo>
                    <a:pt x="8676" y="918"/>
                  </a:lnTo>
                  <a:lnTo>
                    <a:pt x="8662" y="891"/>
                  </a:lnTo>
                  <a:lnTo>
                    <a:pt x="8650" y="871"/>
                  </a:lnTo>
                  <a:lnTo>
                    <a:pt x="8636" y="853"/>
                  </a:lnTo>
                  <a:lnTo>
                    <a:pt x="8622" y="836"/>
                  </a:lnTo>
                  <a:lnTo>
                    <a:pt x="8605" y="820"/>
                  </a:lnTo>
                  <a:lnTo>
                    <a:pt x="8589" y="805"/>
                  </a:lnTo>
                  <a:lnTo>
                    <a:pt x="8570" y="791"/>
                  </a:lnTo>
                  <a:lnTo>
                    <a:pt x="8529" y="766"/>
                  </a:lnTo>
                  <a:lnTo>
                    <a:pt x="8506" y="756"/>
                  </a:lnTo>
                  <a:lnTo>
                    <a:pt x="8484" y="747"/>
                  </a:lnTo>
                  <a:lnTo>
                    <a:pt x="8436" y="733"/>
                  </a:lnTo>
                  <a:lnTo>
                    <a:pt x="8385" y="724"/>
                  </a:lnTo>
                  <a:lnTo>
                    <a:pt x="8332" y="721"/>
                  </a:lnTo>
                  <a:lnTo>
                    <a:pt x="8300" y="722"/>
                  </a:lnTo>
                  <a:lnTo>
                    <a:pt x="8269" y="725"/>
                  </a:lnTo>
                  <a:lnTo>
                    <a:pt x="8239" y="731"/>
                  </a:lnTo>
                  <a:lnTo>
                    <a:pt x="8210" y="737"/>
                  </a:lnTo>
                  <a:lnTo>
                    <a:pt x="8182" y="747"/>
                  </a:lnTo>
                  <a:lnTo>
                    <a:pt x="8155" y="758"/>
                  </a:lnTo>
                  <a:lnTo>
                    <a:pt x="8130" y="772"/>
                  </a:lnTo>
                  <a:lnTo>
                    <a:pt x="8106" y="788"/>
                  </a:lnTo>
                  <a:lnTo>
                    <a:pt x="8083" y="806"/>
                  </a:lnTo>
                  <a:lnTo>
                    <a:pt x="8061" y="827"/>
                  </a:lnTo>
                  <a:lnTo>
                    <a:pt x="8040" y="850"/>
                  </a:lnTo>
                  <a:lnTo>
                    <a:pt x="8021" y="874"/>
                  </a:lnTo>
                  <a:lnTo>
                    <a:pt x="8002" y="902"/>
                  </a:lnTo>
                  <a:lnTo>
                    <a:pt x="7984" y="931"/>
                  </a:lnTo>
                  <a:lnTo>
                    <a:pt x="7968" y="963"/>
                  </a:lnTo>
                  <a:lnTo>
                    <a:pt x="7951" y="997"/>
                  </a:lnTo>
                  <a:lnTo>
                    <a:pt x="7942" y="964"/>
                  </a:lnTo>
                  <a:lnTo>
                    <a:pt x="7932" y="933"/>
                  </a:lnTo>
                  <a:lnTo>
                    <a:pt x="7908" y="876"/>
                  </a:lnTo>
                  <a:lnTo>
                    <a:pt x="7893" y="852"/>
                  </a:lnTo>
                  <a:lnTo>
                    <a:pt x="7885" y="840"/>
                  </a:lnTo>
                  <a:lnTo>
                    <a:pt x="7877" y="828"/>
                  </a:lnTo>
                  <a:lnTo>
                    <a:pt x="7869" y="818"/>
                  </a:lnTo>
                  <a:lnTo>
                    <a:pt x="7859" y="808"/>
                  </a:lnTo>
                  <a:lnTo>
                    <a:pt x="7840" y="791"/>
                  </a:lnTo>
                  <a:lnTo>
                    <a:pt x="7820" y="774"/>
                  </a:lnTo>
                  <a:lnTo>
                    <a:pt x="7798" y="760"/>
                  </a:lnTo>
                  <a:lnTo>
                    <a:pt x="7773" y="748"/>
                  </a:lnTo>
                  <a:lnTo>
                    <a:pt x="7748" y="738"/>
                  </a:lnTo>
                  <a:lnTo>
                    <a:pt x="7721" y="731"/>
                  </a:lnTo>
                  <a:lnTo>
                    <a:pt x="7692" y="725"/>
                  </a:lnTo>
                  <a:lnTo>
                    <a:pt x="7662" y="722"/>
                  </a:lnTo>
                  <a:lnTo>
                    <a:pt x="7630" y="721"/>
                  </a:lnTo>
                  <a:lnTo>
                    <a:pt x="7598" y="722"/>
                  </a:lnTo>
                  <a:lnTo>
                    <a:pt x="7567" y="725"/>
                  </a:lnTo>
                  <a:lnTo>
                    <a:pt x="7537" y="730"/>
                  </a:lnTo>
                  <a:lnTo>
                    <a:pt x="7509" y="737"/>
                  </a:lnTo>
                  <a:lnTo>
                    <a:pt x="7481" y="746"/>
                  </a:lnTo>
                  <a:lnTo>
                    <a:pt x="7456" y="757"/>
                  </a:lnTo>
                  <a:lnTo>
                    <a:pt x="7431" y="771"/>
                  </a:lnTo>
                  <a:lnTo>
                    <a:pt x="7408" y="786"/>
                  </a:lnTo>
                  <a:lnTo>
                    <a:pt x="7386" y="804"/>
                  </a:lnTo>
                  <a:lnTo>
                    <a:pt x="7364" y="824"/>
                  </a:lnTo>
                  <a:lnTo>
                    <a:pt x="7344" y="846"/>
                  </a:lnTo>
                  <a:lnTo>
                    <a:pt x="7324" y="871"/>
                  </a:lnTo>
                  <a:lnTo>
                    <a:pt x="7307" y="896"/>
                  </a:lnTo>
                  <a:lnTo>
                    <a:pt x="7288" y="925"/>
                  </a:lnTo>
                  <a:lnTo>
                    <a:pt x="7270" y="956"/>
                  </a:lnTo>
                  <a:lnTo>
                    <a:pt x="7253" y="990"/>
                  </a:lnTo>
                  <a:lnTo>
                    <a:pt x="7253" y="746"/>
                  </a:lnTo>
                  <a:lnTo>
                    <a:pt x="6927" y="746"/>
                  </a:lnTo>
                  <a:lnTo>
                    <a:pt x="6927" y="1342"/>
                  </a:lnTo>
                  <a:lnTo>
                    <a:pt x="6927" y="1938"/>
                  </a:lnTo>
                  <a:lnTo>
                    <a:pt x="7266" y="1938"/>
                  </a:lnTo>
                  <a:lnTo>
                    <a:pt x="7266" y="1384"/>
                  </a:lnTo>
                  <a:lnTo>
                    <a:pt x="7267" y="1329"/>
                  </a:lnTo>
                  <a:lnTo>
                    <a:pt x="7270" y="1283"/>
                  </a:lnTo>
                  <a:lnTo>
                    <a:pt x="7276" y="1242"/>
                  </a:lnTo>
                  <a:lnTo>
                    <a:pt x="7283" y="1207"/>
                  </a:lnTo>
                  <a:lnTo>
                    <a:pt x="7290" y="1187"/>
                  </a:lnTo>
                  <a:lnTo>
                    <a:pt x="7297" y="1169"/>
                  </a:lnTo>
                  <a:lnTo>
                    <a:pt x="7314" y="1135"/>
                  </a:lnTo>
                  <a:lnTo>
                    <a:pt x="7323" y="1118"/>
                  </a:lnTo>
                  <a:lnTo>
                    <a:pt x="7334" y="1104"/>
                  </a:lnTo>
                  <a:lnTo>
                    <a:pt x="7359" y="1078"/>
                  </a:lnTo>
                  <a:lnTo>
                    <a:pt x="7386" y="1058"/>
                  </a:lnTo>
                  <a:lnTo>
                    <a:pt x="7416" y="1043"/>
                  </a:lnTo>
                  <a:lnTo>
                    <a:pt x="7431" y="1037"/>
                  </a:lnTo>
                  <a:lnTo>
                    <a:pt x="7447" y="1034"/>
                  </a:lnTo>
                  <a:lnTo>
                    <a:pt x="7481" y="1031"/>
                  </a:lnTo>
                  <a:lnTo>
                    <a:pt x="7506" y="1032"/>
                  </a:lnTo>
                  <a:lnTo>
                    <a:pt x="7530" y="1037"/>
                  </a:lnTo>
                  <a:lnTo>
                    <a:pt x="7551" y="1045"/>
                  </a:lnTo>
                  <a:lnTo>
                    <a:pt x="7570" y="1056"/>
                  </a:lnTo>
                  <a:lnTo>
                    <a:pt x="7588" y="1069"/>
                  </a:lnTo>
                  <a:lnTo>
                    <a:pt x="7602" y="1086"/>
                  </a:lnTo>
                  <a:lnTo>
                    <a:pt x="7615" y="1106"/>
                  </a:lnTo>
                  <a:lnTo>
                    <a:pt x="7621" y="1116"/>
                  </a:lnTo>
                  <a:lnTo>
                    <a:pt x="7625" y="1127"/>
                  </a:lnTo>
                  <a:lnTo>
                    <a:pt x="7638" y="1165"/>
                  </a:lnTo>
                  <a:lnTo>
                    <a:pt x="7645" y="1211"/>
                  </a:lnTo>
                  <a:lnTo>
                    <a:pt x="7650" y="1268"/>
                  </a:lnTo>
                  <a:lnTo>
                    <a:pt x="7651" y="1342"/>
                  </a:lnTo>
                  <a:lnTo>
                    <a:pt x="7651" y="1938"/>
                  </a:lnTo>
                  <a:lnTo>
                    <a:pt x="7993" y="1938"/>
                  </a:lnTo>
                  <a:lnTo>
                    <a:pt x="7993" y="1364"/>
                  </a:lnTo>
                  <a:lnTo>
                    <a:pt x="7993" y="1325"/>
                  </a:lnTo>
                  <a:lnTo>
                    <a:pt x="7996" y="1287"/>
                  </a:lnTo>
                  <a:lnTo>
                    <a:pt x="8000" y="1253"/>
                  </a:lnTo>
                  <a:lnTo>
                    <a:pt x="8006" y="1221"/>
                  </a:lnTo>
                  <a:lnTo>
                    <a:pt x="8014" y="1191"/>
                  </a:lnTo>
                  <a:lnTo>
                    <a:pt x="8023" y="1164"/>
                  </a:lnTo>
                  <a:lnTo>
                    <a:pt x="8034" y="1138"/>
                  </a:lnTo>
                  <a:lnTo>
                    <a:pt x="8046" y="1116"/>
                  </a:lnTo>
                  <a:lnTo>
                    <a:pt x="8061" y="1096"/>
                  </a:lnTo>
                  <a:lnTo>
                    <a:pt x="8078" y="1079"/>
                  </a:lnTo>
                  <a:lnTo>
                    <a:pt x="8095" y="1064"/>
                  </a:lnTo>
                  <a:lnTo>
                    <a:pt x="8114" y="1052"/>
                  </a:lnTo>
                  <a:lnTo>
                    <a:pt x="8135" y="1043"/>
                  </a:lnTo>
                  <a:lnTo>
                    <a:pt x="8158" y="1036"/>
                  </a:lnTo>
                  <a:lnTo>
                    <a:pt x="8182" y="1032"/>
                  </a:lnTo>
                  <a:lnTo>
                    <a:pt x="8208" y="1031"/>
                  </a:lnTo>
                  <a:lnTo>
                    <a:pt x="8238" y="1032"/>
                  </a:lnTo>
                  <a:lnTo>
                    <a:pt x="8264" y="1037"/>
                  </a:lnTo>
                  <a:lnTo>
                    <a:pt x="8289" y="1046"/>
                  </a:lnTo>
                  <a:lnTo>
                    <a:pt x="8310" y="1058"/>
                  </a:lnTo>
                  <a:lnTo>
                    <a:pt x="8320" y="1066"/>
                  </a:lnTo>
                  <a:lnTo>
                    <a:pt x="8329" y="1075"/>
                  </a:lnTo>
                  <a:lnTo>
                    <a:pt x="8336" y="1084"/>
                  </a:lnTo>
                  <a:lnTo>
                    <a:pt x="8343" y="1095"/>
                  </a:lnTo>
                  <a:lnTo>
                    <a:pt x="8356" y="1118"/>
                  </a:lnTo>
                  <a:lnTo>
                    <a:pt x="8365" y="1146"/>
                  </a:lnTo>
                  <a:lnTo>
                    <a:pt x="8370" y="1178"/>
                  </a:lnTo>
                  <a:lnTo>
                    <a:pt x="8374" y="1219"/>
                  </a:lnTo>
                  <a:lnTo>
                    <a:pt x="8376" y="1268"/>
                  </a:lnTo>
                  <a:lnTo>
                    <a:pt x="8377" y="1324"/>
                  </a:lnTo>
                  <a:lnTo>
                    <a:pt x="8377" y="1938"/>
                  </a:lnTo>
                  <a:lnTo>
                    <a:pt x="8720" y="1938"/>
                  </a:lnTo>
                  <a:close/>
                  <a:moveTo>
                    <a:pt x="2622" y="369"/>
                  </a:moveTo>
                  <a:lnTo>
                    <a:pt x="2584" y="372"/>
                  </a:lnTo>
                  <a:lnTo>
                    <a:pt x="2566" y="376"/>
                  </a:lnTo>
                  <a:lnTo>
                    <a:pt x="2549" y="382"/>
                  </a:lnTo>
                  <a:lnTo>
                    <a:pt x="2534" y="390"/>
                  </a:lnTo>
                  <a:lnTo>
                    <a:pt x="2519" y="399"/>
                  </a:lnTo>
                  <a:lnTo>
                    <a:pt x="2494" y="421"/>
                  </a:lnTo>
                  <a:lnTo>
                    <a:pt x="2483" y="434"/>
                  </a:lnTo>
                  <a:lnTo>
                    <a:pt x="2473" y="450"/>
                  </a:lnTo>
                  <a:lnTo>
                    <a:pt x="2465" y="465"/>
                  </a:lnTo>
                  <a:lnTo>
                    <a:pt x="2458" y="483"/>
                  </a:lnTo>
                  <a:lnTo>
                    <a:pt x="2453" y="502"/>
                  </a:lnTo>
                  <a:lnTo>
                    <a:pt x="2449" y="521"/>
                  </a:lnTo>
                  <a:lnTo>
                    <a:pt x="2446" y="542"/>
                  </a:lnTo>
                  <a:lnTo>
                    <a:pt x="2446" y="564"/>
                  </a:lnTo>
                  <a:lnTo>
                    <a:pt x="2446" y="757"/>
                  </a:lnTo>
                  <a:lnTo>
                    <a:pt x="2692" y="757"/>
                  </a:lnTo>
                  <a:lnTo>
                    <a:pt x="2692" y="1027"/>
                  </a:lnTo>
                  <a:lnTo>
                    <a:pt x="2446" y="1027"/>
                  </a:lnTo>
                  <a:lnTo>
                    <a:pt x="2446" y="1483"/>
                  </a:lnTo>
                  <a:lnTo>
                    <a:pt x="2446" y="1938"/>
                  </a:lnTo>
                  <a:lnTo>
                    <a:pt x="2107" y="1938"/>
                  </a:lnTo>
                  <a:lnTo>
                    <a:pt x="2107" y="1483"/>
                  </a:lnTo>
                  <a:lnTo>
                    <a:pt x="2107" y="1027"/>
                  </a:lnTo>
                  <a:lnTo>
                    <a:pt x="1950" y="1027"/>
                  </a:lnTo>
                  <a:lnTo>
                    <a:pt x="1950" y="757"/>
                  </a:lnTo>
                  <a:lnTo>
                    <a:pt x="2107" y="757"/>
                  </a:lnTo>
                  <a:lnTo>
                    <a:pt x="2107" y="595"/>
                  </a:lnTo>
                  <a:lnTo>
                    <a:pt x="2110" y="501"/>
                  </a:lnTo>
                  <a:lnTo>
                    <a:pt x="2115" y="454"/>
                  </a:lnTo>
                  <a:lnTo>
                    <a:pt x="2122" y="407"/>
                  </a:lnTo>
                  <a:lnTo>
                    <a:pt x="2126" y="385"/>
                  </a:lnTo>
                  <a:lnTo>
                    <a:pt x="2130" y="363"/>
                  </a:lnTo>
                  <a:lnTo>
                    <a:pt x="2144" y="320"/>
                  </a:lnTo>
                  <a:lnTo>
                    <a:pt x="2152" y="299"/>
                  </a:lnTo>
                  <a:lnTo>
                    <a:pt x="2160" y="278"/>
                  </a:lnTo>
                  <a:lnTo>
                    <a:pt x="2182" y="240"/>
                  </a:lnTo>
                  <a:lnTo>
                    <a:pt x="2207" y="203"/>
                  </a:lnTo>
                  <a:lnTo>
                    <a:pt x="2222" y="186"/>
                  </a:lnTo>
                  <a:lnTo>
                    <a:pt x="2238" y="171"/>
                  </a:lnTo>
                  <a:lnTo>
                    <a:pt x="2255" y="156"/>
                  </a:lnTo>
                  <a:lnTo>
                    <a:pt x="2274" y="142"/>
                  </a:lnTo>
                  <a:lnTo>
                    <a:pt x="2316" y="118"/>
                  </a:lnTo>
                  <a:lnTo>
                    <a:pt x="2339" y="108"/>
                  </a:lnTo>
                  <a:lnTo>
                    <a:pt x="2365" y="99"/>
                  </a:lnTo>
                  <a:lnTo>
                    <a:pt x="2391" y="90"/>
                  </a:lnTo>
                  <a:lnTo>
                    <a:pt x="2419" y="83"/>
                  </a:lnTo>
                  <a:lnTo>
                    <a:pt x="2449" y="79"/>
                  </a:lnTo>
                  <a:lnTo>
                    <a:pt x="2481" y="74"/>
                  </a:lnTo>
                  <a:lnTo>
                    <a:pt x="2516" y="72"/>
                  </a:lnTo>
                  <a:lnTo>
                    <a:pt x="2551" y="71"/>
                  </a:lnTo>
                  <a:lnTo>
                    <a:pt x="2615" y="73"/>
                  </a:lnTo>
                  <a:lnTo>
                    <a:pt x="2668" y="79"/>
                  </a:lnTo>
                  <a:lnTo>
                    <a:pt x="2721" y="88"/>
                  </a:lnTo>
                  <a:lnTo>
                    <a:pt x="2782" y="100"/>
                  </a:lnTo>
                  <a:lnTo>
                    <a:pt x="2782" y="390"/>
                  </a:lnTo>
                  <a:lnTo>
                    <a:pt x="2717" y="375"/>
                  </a:lnTo>
                  <a:lnTo>
                    <a:pt x="2676" y="371"/>
                  </a:lnTo>
                  <a:lnTo>
                    <a:pt x="2622" y="369"/>
                  </a:lnTo>
                  <a:close/>
                  <a:moveTo>
                    <a:pt x="1447" y="1554"/>
                  </a:moveTo>
                  <a:lnTo>
                    <a:pt x="1649" y="1903"/>
                  </a:lnTo>
                  <a:lnTo>
                    <a:pt x="1599" y="1930"/>
                  </a:lnTo>
                  <a:lnTo>
                    <a:pt x="1549" y="1955"/>
                  </a:lnTo>
                  <a:lnTo>
                    <a:pt x="1498" y="1976"/>
                  </a:lnTo>
                  <a:lnTo>
                    <a:pt x="1446" y="1995"/>
                  </a:lnTo>
                  <a:lnTo>
                    <a:pt x="1394" y="2010"/>
                  </a:lnTo>
                  <a:lnTo>
                    <a:pt x="1342" y="2024"/>
                  </a:lnTo>
                  <a:lnTo>
                    <a:pt x="1288" y="2035"/>
                  </a:lnTo>
                  <a:lnTo>
                    <a:pt x="1235" y="2042"/>
                  </a:lnTo>
                  <a:lnTo>
                    <a:pt x="1183" y="2047"/>
                  </a:lnTo>
                  <a:lnTo>
                    <a:pt x="1130" y="2050"/>
                  </a:lnTo>
                  <a:lnTo>
                    <a:pt x="1076" y="2050"/>
                  </a:lnTo>
                  <a:lnTo>
                    <a:pt x="1023" y="2048"/>
                  </a:lnTo>
                  <a:lnTo>
                    <a:pt x="971" y="2042"/>
                  </a:lnTo>
                  <a:lnTo>
                    <a:pt x="919" y="2036"/>
                  </a:lnTo>
                  <a:lnTo>
                    <a:pt x="866" y="2026"/>
                  </a:lnTo>
                  <a:lnTo>
                    <a:pt x="815" y="2012"/>
                  </a:lnTo>
                  <a:lnTo>
                    <a:pt x="764" y="1998"/>
                  </a:lnTo>
                  <a:lnTo>
                    <a:pt x="714" y="1981"/>
                  </a:lnTo>
                  <a:lnTo>
                    <a:pt x="690" y="1971"/>
                  </a:lnTo>
                  <a:lnTo>
                    <a:pt x="665" y="1961"/>
                  </a:lnTo>
                  <a:lnTo>
                    <a:pt x="618" y="1939"/>
                  </a:lnTo>
                  <a:lnTo>
                    <a:pt x="570" y="1915"/>
                  </a:lnTo>
                  <a:lnTo>
                    <a:pt x="524" y="1888"/>
                  </a:lnTo>
                  <a:lnTo>
                    <a:pt x="480" y="1859"/>
                  </a:lnTo>
                  <a:lnTo>
                    <a:pt x="436" y="1828"/>
                  </a:lnTo>
                  <a:lnTo>
                    <a:pt x="394" y="1795"/>
                  </a:lnTo>
                  <a:lnTo>
                    <a:pt x="353" y="1759"/>
                  </a:lnTo>
                  <a:lnTo>
                    <a:pt x="314" y="1721"/>
                  </a:lnTo>
                  <a:lnTo>
                    <a:pt x="278" y="1681"/>
                  </a:lnTo>
                  <a:lnTo>
                    <a:pt x="242" y="1639"/>
                  </a:lnTo>
                  <a:lnTo>
                    <a:pt x="209" y="1596"/>
                  </a:lnTo>
                  <a:lnTo>
                    <a:pt x="177" y="1549"/>
                  </a:lnTo>
                  <a:lnTo>
                    <a:pt x="148" y="1502"/>
                  </a:lnTo>
                  <a:lnTo>
                    <a:pt x="120" y="1452"/>
                  </a:lnTo>
                  <a:lnTo>
                    <a:pt x="97" y="1400"/>
                  </a:lnTo>
                  <a:lnTo>
                    <a:pt x="74" y="1349"/>
                  </a:lnTo>
                  <a:lnTo>
                    <a:pt x="55" y="1298"/>
                  </a:lnTo>
                  <a:lnTo>
                    <a:pt x="40" y="1246"/>
                  </a:lnTo>
                  <a:lnTo>
                    <a:pt x="27" y="1193"/>
                  </a:lnTo>
                  <a:lnTo>
                    <a:pt x="17" y="1141"/>
                  </a:lnTo>
                  <a:lnTo>
                    <a:pt x="8" y="1087"/>
                  </a:lnTo>
                  <a:lnTo>
                    <a:pt x="3" y="1034"/>
                  </a:lnTo>
                  <a:lnTo>
                    <a:pt x="0" y="981"/>
                  </a:lnTo>
                  <a:lnTo>
                    <a:pt x="0" y="928"/>
                  </a:lnTo>
                  <a:lnTo>
                    <a:pt x="2" y="875"/>
                  </a:lnTo>
                  <a:lnTo>
                    <a:pt x="8" y="822"/>
                  </a:lnTo>
                  <a:lnTo>
                    <a:pt x="15" y="770"/>
                  </a:lnTo>
                  <a:lnTo>
                    <a:pt x="25" y="718"/>
                  </a:lnTo>
                  <a:lnTo>
                    <a:pt x="38" y="667"/>
                  </a:lnTo>
                  <a:lnTo>
                    <a:pt x="52" y="616"/>
                  </a:lnTo>
                  <a:lnTo>
                    <a:pt x="70" y="566"/>
                  </a:lnTo>
                  <a:lnTo>
                    <a:pt x="79" y="542"/>
                  </a:lnTo>
                  <a:lnTo>
                    <a:pt x="89" y="517"/>
                  </a:lnTo>
                  <a:lnTo>
                    <a:pt x="111" y="470"/>
                  </a:lnTo>
                  <a:lnTo>
                    <a:pt x="135" y="422"/>
                  </a:lnTo>
                  <a:lnTo>
                    <a:pt x="162" y="376"/>
                  </a:lnTo>
                  <a:lnTo>
                    <a:pt x="191" y="332"/>
                  </a:lnTo>
                  <a:lnTo>
                    <a:pt x="222" y="289"/>
                  </a:lnTo>
                  <a:lnTo>
                    <a:pt x="255" y="246"/>
                  </a:lnTo>
                  <a:lnTo>
                    <a:pt x="291" y="205"/>
                  </a:lnTo>
                  <a:lnTo>
                    <a:pt x="329" y="166"/>
                  </a:lnTo>
                  <a:lnTo>
                    <a:pt x="369" y="130"/>
                  </a:lnTo>
                  <a:lnTo>
                    <a:pt x="411" y="94"/>
                  </a:lnTo>
                  <a:lnTo>
                    <a:pt x="455" y="61"/>
                  </a:lnTo>
                  <a:lnTo>
                    <a:pt x="501" y="29"/>
                  </a:lnTo>
                  <a:lnTo>
                    <a:pt x="550" y="0"/>
                  </a:lnTo>
                  <a:lnTo>
                    <a:pt x="825" y="74"/>
                  </a:lnTo>
                  <a:lnTo>
                    <a:pt x="751" y="349"/>
                  </a:lnTo>
                  <a:lnTo>
                    <a:pt x="720" y="369"/>
                  </a:lnTo>
                  <a:lnTo>
                    <a:pt x="690" y="389"/>
                  </a:lnTo>
                  <a:lnTo>
                    <a:pt x="661" y="411"/>
                  </a:lnTo>
                  <a:lnTo>
                    <a:pt x="634" y="434"/>
                  </a:lnTo>
                  <a:lnTo>
                    <a:pt x="608" y="459"/>
                  </a:lnTo>
                  <a:lnTo>
                    <a:pt x="584" y="484"/>
                  </a:lnTo>
                  <a:lnTo>
                    <a:pt x="540" y="537"/>
                  </a:lnTo>
                  <a:lnTo>
                    <a:pt x="520" y="565"/>
                  </a:lnTo>
                  <a:lnTo>
                    <a:pt x="502" y="594"/>
                  </a:lnTo>
                  <a:lnTo>
                    <a:pt x="485" y="624"/>
                  </a:lnTo>
                  <a:lnTo>
                    <a:pt x="470" y="655"/>
                  </a:lnTo>
                  <a:lnTo>
                    <a:pt x="455" y="686"/>
                  </a:lnTo>
                  <a:lnTo>
                    <a:pt x="443" y="717"/>
                  </a:lnTo>
                  <a:lnTo>
                    <a:pt x="424" y="782"/>
                  </a:lnTo>
                  <a:lnTo>
                    <a:pt x="410" y="848"/>
                  </a:lnTo>
                  <a:lnTo>
                    <a:pt x="403" y="915"/>
                  </a:lnTo>
                  <a:lnTo>
                    <a:pt x="401" y="948"/>
                  </a:lnTo>
                  <a:lnTo>
                    <a:pt x="401" y="982"/>
                  </a:lnTo>
                  <a:lnTo>
                    <a:pt x="403" y="1015"/>
                  </a:lnTo>
                  <a:lnTo>
                    <a:pt x="406" y="1048"/>
                  </a:lnTo>
                  <a:lnTo>
                    <a:pt x="411" y="1082"/>
                  </a:lnTo>
                  <a:lnTo>
                    <a:pt x="418" y="1115"/>
                  </a:lnTo>
                  <a:lnTo>
                    <a:pt x="426" y="1147"/>
                  </a:lnTo>
                  <a:lnTo>
                    <a:pt x="435" y="1179"/>
                  </a:lnTo>
                  <a:lnTo>
                    <a:pt x="448" y="1211"/>
                  </a:lnTo>
                  <a:lnTo>
                    <a:pt x="460" y="1242"/>
                  </a:lnTo>
                  <a:lnTo>
                    <a:pt x="475" y="1273"/>
                  </a:lnTo>
                  <a:lnTo>
                    <a:pt x="491" y="1303"/>
                  </a:lnTo>
                  <a:lnTo>
                    <a:pt x="509" y="1332"/>
                  </a:lnTo>
                  <a:lnTo>
                    <a:pt x="528" y="1359"/>
                  </a:lnTo>
                  <a:lnTo>
                    <a:pt x="570" y="1412"/>
                  </a:lnTo>
                  <a:lnTo>
                    <a:pt x="593" y="1436"/>
                  </a:lnTo>
                  <a:lnTo>
                    <a:pt x="618" y="1459"/>
                  </a:lnTo>
                  <a:lnTo>
                    <a:pt x="643" y="1482"/>
                  </a:lnTo>
                  <a:lnTo>
                    <a:pt x="669" y="1503"/>
                  </a:lnTo>
                  <a:lnTo>
                    <a:pt x="724" y="1540"/>
                  </a:lnTo>
                  <a:lnTo>
                    <a:pt x="753" y="1557"/>
                  </a:lnTo>
                  <a:lnTo>
                    <a:pt x="783" y="1573"/>
                  </a:lnTo>
                  <a:lnTo>
                    <a:pt x="844" y="1600"/>
                  </a:lnTo>
                  <a:lnTo>
                    <a:pt x="876" y="1612"/>
                  </a:lnTo>
                  <a:lnTo>
                    <a:pt x="909" y="1622"/>
                  </a:lnTo>
                  <a:lnTo>
                    <a:pt x="974" y="1636"/>
                  </a:lnTo>
                  <a:lnTo>
                    <a:pt x="1007" y="1642"/>
                  </a:lnTo>
                  <a:lnTo>
                    <a:pt x="1042" y="1645"/>
                  </a:lnTo>
                  <a:lnTo>
                    <a:pt x="1075" y="1647"/>
                  </a:lnTo>
                  <a:lnTo>
                    <a:pt x="1110" y="1647"/>
                  </a:lnTo>
                  <a:lnTo>
                    <a:pt x="1144" y="1646"/>
                  </a:lnTo>
                  <a:lnTo>
                    <a:pt x="1178" y="1643"/>
                  </a:lnTo>
                  <a:lnTo>
                    <a:pt x="1213" y="1638"/>
                  </a:lnTo>
                  <a:lnTo>
                    <a:pt x="1246" y="1632"/>
                  </a:lnTo>
                  <a:lnTo>
                    <a:pt x="1281" y="1624"/>
                  </a:lnTo>
                  <a:lnTo>
                    <a:pt x="1315" y="1614"/>
                  </a:lnTo>
                  <a:lnTo>
                    <a:pt x="1348" y="1602"/>
                  </a:lnTo>
                  <a:lnTo>
                    <a:pt x="1382" y="1587"/>
                  </a:lnTo>
                  <a:lnTo>
                    <a:pt x="1415" y="1572"/>
                  </a:lnTo>
                  <a:lnTo>
                    <a:pt x="1447" y="1554"/>
                  </a:lnTo>
                  <a:close/>
                  <a:moveTo>
                    <a:pt x="565" y="1259"/>
                  </a:moveTo>
                  <a:lnTo>
                    <a:pt x="598" y="1309"/>
                  </a:lnTo>
                  <a:lnTo>
                    <a:pt x="634" y="1356"/>
                  </a:lnTo>
                  <a:lnTo>
                    <a:pt x="676" y="1398"/>
                  </a:lnTo>
                  <a:lnTo>
                    <a:pt x="721" y="1435"/>
                  </a:lnTo>
                  <a:lnTo>
                    <a:pt x="745" y="1453"/>
                  </a:lnTo>
                  <a:lnTo>
                    <a:pt x="770" y="1468"/>
                  </a:lnTo>
                  <a:lnTo>
                    <a:pt x="821" y="1497"/>
                  </a:lnTo>
                  <a:lnTo>
                    <a:pt x="847" y="1509"/>
                  </a:lnTo>
                  <a:lnTo>
                    <a:pt x="875" y="1520"/>
                  </a:lnTo>
                  <a:lnTo>
                    <a:pt x="932" y="1539"/>
                  </a:lnTo>
                  <a:lnTo>
                    <a:pt x="990" y="1553"/>
                  </a:lnTo>
                  <a:lnTo>
                    <a:pt x="1049" y="1560"/>
                  </a:lnTo>
                  <a:lnTo>
                    <a:pt x="1108" y="1563"/>
                  </a:lnTo>
                  <a:lnTo>
                    <a:pt x="1168" y="1558"/>
                  </a:lnTo>
                  <a:lnTo>
                    <a:pt x="1228" y="1548"/>
                  </a:lnTo>
                  <a:lnTo>
                    <a:pt x="1288" y="1533"/>
                  </a:lnTo>
                  <a:lnTo>
                    <a:pt x="1347" y="1509"/>
                  </a:lnTo>
                  <a:lnTo>
                    <a:pt x="1405" y="1480"/>
                  </a:lnTo>
                  <a:lnTo>
                    <a:pt x="1460" y="1445"/>
                  </a:lnTo>
                  <a:lnTo>
                    <a:pt x="1485" y="1426"/>
                  </a:lnTo>
                  <a:lnTo>
                    <a:pt x="1508" y="1405"/>
                  </a:lnTo>
                  <a:lnTo>
                    <a:pt x="1553" y="1362"/>
                  </a:lnTo>
                  <a:lnTo>
                    <a:pt x="1592" y="1314"/>
                  </a:lnTo>
                  <a:lnTo>
                    <a:pt x="1625" y="1264"/>
                  </a:lnTo>
                  <a:lnTo>
                    <a:pt x="1639" y="1237"/>
                  </a:lnTo>
                  <a:lnTo>
                    <a:pt x="1653" y="1211"/>
                  </a:lnTo>
                  <a:lnTo>
                    <a:pt x="1665" y="1184"/>
                  </a:lnTo>
                  <a:lnTo>
                    <a:pt x="1676" y="1156"/>
                  </a:lnTo>
                  <a:lnTo>
                    <a:pt x="1693" y="1099"/>
                  </a:lnTo>
                  <a:lnTo>
                    <a:pt x="1705" y="1042"/>
                  </a:lnTo>
                  <a:lnTo>
                    <a:pt x="1709" y="1013"/>
                  </a:lnTo>
                  <a:lnTo>
                    <a:pt x="1712" y="983"/>
                  </a:lnTo>
                  <a:lnTo>
                    <a:pt x="1713" y="924"/>
                  </a:lnTo>
                  <a:lnTo>
                    <a:pt x="1708" y="866"/>
                  </a:lnTo>
                  <a:lnTo>
                    <a:pt x="1697" y="807"/>
                  </a:lnTo>
                  <a:lnTo>
                    <a:pt x="1682" y="751"/>
                  </a:lnTo>
                  <a:lnTo>
                    <a:pt x="1661" y="696"/>
                  </a:lnTo>
                  <a:lnTo>
                    <a:pt x="1634" y="643"/>
                  </a:lnTo>
                  <a:lnTo>
                    <a:pt x="1602" y="593"/>
                  </a:lnTo>
                  <a:lnTo>
                    <a:pt x="1564" y="547"/>
                  </a:lnTo>
                  <a:lnTo>
                    <a:pt x="1523" y="505"/>
                  </a:lnTo>
                  <a:lnTo>
                    <a:pt x="1501" y="485"/>
                  </a:lnTo>
                  <a:lnTo>
                    <a:pt x="1478" y="467"/>
                  </a:lnTo>
                  <a:lnTo>
                    <a:pt x="1454" y="450"/>
                  </a:lnTo>
                  <a:lnTo>
                    <a:pt x="1430" y="434"/>
                  </a:lnTo>
                  <a:lnTo>
                    <a:pt x="1378" y="405"/>
                  </a:lnTo>
                  <a:lnTo>
                    <a:pt x="1352" y="393"/>
                  </a:lnTo>
                  <a:lnTo>
                    <a:pt x="1324" y="382"/>
                  </a:lnTo>
                  <a:lnTo>
                    <a:pt x="1268" y="363"/>
                  </a:lnTo>
                  <a:lnTo>
                    <a:pt x="1240" y="356"/>
                  </a:lnTo>
                  <a:lnTo>
                    <a:pt x="1211" y="350"/>
                  </a:lnTo>
                  <a:lnTo>
                    <a:pt x="1181" y="345"/>
                  </a:lnTo>
                  <a:lnTo>
                    <a:pt x="1152" y="342"/>
                  </a:lnTo>
                  <a:lnTo>
                    <a:pt x="1092" y="340"/>
                  </a:lnTo>
                  <a:lnTo>
                    <a:pt x="1031" y="344"/>
                  </a:lnTo>
                  <a:lnTo>
                    <a:pt x="971" y="354"/>
                  </a:lnTo>
                  <a:lnTo>
                    <a:pt x="911" y="370"/>
                  </a:lnTo>
                  <a:lnTo>
                    <a:pt x="881" y="381"/>
                  </a:lnTo>
                  <a:lnTo>
                    <a:pt x="852" y="393"/>
                  </a:lnTo>
                  <a:lnTo>
                    <a:pt x="823" y="406"/>
                  </a:lnTo>
                  <a:lnTo>
                    <a:pt x="794" y="423"/>
                  </a:lnTo>
                  <a:lnTo>
                    <a:pt x="766" y="440"/>
                  </a:lnTo>
                  <a:lnTo>
                    <a:pt x="740" y="457"/>
                  </a:lnTo>
                  <a:lnTo>
                    <a:pt x="714" y="476"/>
                  </a:lnTo>
                  <a:lnTo>
                    <a:pt x="691" y="497"/>
                  </a:lnTo>
                  <a:lnTo>
                    <a:pt x="646" y="541"/>
                  </a:lnTo>
                  <a:lnTo>
                    <a:pt x="609" y="589"/>
                  </a:lnTo>
                  <a:lnTo>
                    <a:pt x="574" y="639"/>
                  </a:lnTo>
                  <a:lnTo>
                    <a:pt x="560" y="664"/>
                  </a:lnTo>
                  <a:lnTo>
                    <a:pt x="546" y="692"/>
                  </a:lnTo>
                  <a:lnTo>
                    <a:pt x="534" y="718"/>
                  </a:lnTo>
                  <a:lnTo>
                    <a:pt x="524" y="746"/>
                  </a:lnTo>
                  <a:lnTo>
                    <a:pt x="506" y="803"/>
                  </a:lnTo>
                  <a:lnTo>
                    <a:pt x="494" y="861"/>
                  </a:lnTo>
                  <a:lnTo>
                    <a:pt x="488" y="920"/>
                  </a:lnTo>
                  <a:lnTo>
                    <a:pt x="486" y="978"/>
                  </a:lnTo>
                  <a:lnTo>
                    <a:pt x="491" y="1037"/>
                  </a:lnTo>
                  <a:lnTo>
                    <a:pt x="495" y="1066"/>
                  </a:lnTo>
                  <a:lnTo>
                    <a:pt x="501" y="1095"/>
                  </a:lnTo>
                  <a:lnTo>
                    <a:pt x="516" y="1152"/>
                  </a:lnTo>
                  <a:lnTo>
                    <a:pt x="538" y="1207"/>
                  </a:lnTo>
                  <a:lnTo>
                    <a:pt x="565" y="125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5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0297850" y="6211927"/>
                </a:moveTo>
                <a:lnTo>
                  <a:pt x="10297850" y="6333814"/>
                </a:lnTo>
                <a:lnTo>
                  <a:pt x="10297850" y="6455701"/>
                </a:lnTo>
                <a:lnTo>
                  <a:pt x="10297850" y="6577587"/>
                </a:lnTo>
                <a:lnTo>
                  <a:pt x="10297850" y="6699474"/>
                </a:lnTo>
                <a:lnTo>
                  <a:pt x="10389125" y="6699474"/>
                </a:lnTo>
                <a:lnTo>
                  <a:pt x="10480540" y="6699474"/>
                </a:lnTo>
                <a:lnTo>
                  <a:pt x="10572095" y="6699474"/>
                </a:lnTo>
                <a:lnTo>
                  <a:pt x="10663510" y="6699474"/>
                </a:lnTo>
                <a:lnTo>
                  <a:pt x="10754785" y="6699474"/>
                </a:lnTo>
                <a:lnTo>
                  <a:pt x="10846199" y="6699474"/>
                </a:lnTo>
                <a:lnTo>
                  <a:pt x="10937754" y="6699474"/>
                </a:lnTo>
                <a:lnTo>
                  <a:pt x="11029169" y="6699474"/>
                </a:lnTo>
                <a:lnTo>
                  <a:pt x="11120444" y="6699474"/>
                </a:lnTo>
                <a:lnTo>
                  <a:pt x="11211859" y="6699474"/>
                </a:lnTo>
                <a:lnTo>
                  <a:pt x="11303274" y="6699474"/>
                </a:lnTo>
                <a:lnTo>
                  <a:pt x="11394828" y="6699474"/>
                </a:lnTo>
                <a:lnTo>
                  <a:pt x="11486104" y="6699474"/>
                </a:lnTo>
                <a:lnTo>
                  <a:pt x="11577518" y="6699474"/>
                </a:lnTo>
                <a:lnTo>
                  <a:pt x="11668933" y="6699474"/>
                </a:lnTo>
                <a:lnTo>
                  <a:pt x="11760488" y="6699474"/>
                </a:lnTo>
                <a:lnTo>
                  <a:pt x="11760488" y="6577587"/>
                </a:lnTo>
                <a:lnTo>
                  <a:pt x="11760488" y="6455701"/>
                </a:lnTo>
                <a:lnTo>
                  <a:pt x="11760488" y="6333814"/>
                </a:lnTo>
                <a:lnTo>
                  <a:pt x="11760488" y="6211927"/>
                </a:lnTo>
                <a:lnTo>
                  <a:pt x="11668933" y="6211927"/>
                </a:lnTo>
                <a:lnTo>
                  <a:pt x="11577518" y="6211927"/>
                </a:lnTo>
                <a:lnTo>
                  <a:pt x="11486104" y="6211927"/>
                </a:lnTo>
                <a:lnTo>
                  <a:pt x="11394828" y="6211927"/>
                </a:lnTo>
                <a:lnTo>
                  <a:pt x="11303274" y="6211927"/>
                </a:lnTo>
                <a:lnTo>
                  <a:pt x="11211859" y="6211927"/>
                </a:lnTo>
                <a:lnTo>
                  <a:pt x="11120444" y="6211927"/>
                </a:lnTo>
                <a:lnTo>
                  <a:pt x="11029169" y="6211927"/>
                </a:lnTo>
                <a:lnTo>
                  <a:pt x="10937754" y="6211927"/>
                </a:lnTo>
                <a:lnTo>
                  <a:pt x="10846199" y="6211927"/>
                </a:lnTo>
                <a:lnTo>
                  <a:pt x="10754785" y="6211927"/>
                </a:lnTo>
                <a:lnTo>
                  <a:pt x="10663510" y="6211927"/>
                </a:lnTo>
                <a:lnTo>
                  <a:pt x="10572095" y="6211927"/>
                </a:lnTo>
                <a:lnTo>
                  <a:pt x="10480540" y="6211927"/>
                </a:lnTo>
                <a:lnTo>
                  <a:pt x="10389125" y="6211927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AEAEA"/>
          </a:solidFill>
        </p:spPr>
        <p:txBody>
          <a:bodyPr>
            <a:normAutofit/>
          </a:bodyPr>
          <a:lstStyle>
            <a:lvl1pPr marL="0" indent="0" algn="r">
              <a:buFontTx/>
              <a:buNone/>
              <a:defRPr sz="1200"/>
            </a:lvl1pPr>
          </a:lstStyle>
          <a:p>
            <a:r>
              <a:rPr lang="nb-NO"/>
              <a:t>Klikk ikonet for å legge til et bild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50866" y="1926000"/>
            <a:ext cx="9217025" cy="1296000"/>
          </a:xfrm>
        </p:spPr>
        <p:txBody>
          <a:bodyPr anchor="t" anchorCtr="0"/>
          <a:lstStyle>
            <a:lvl1pPr algn="l">
              <a:defRPr sz="5000" b="1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5000"/>
                    </a:prstClr>
                  </a:outerShdw>
                </a:effectLst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50866" y="1404000"/>
            <a:ext cx="9217025" cy="360000"/>
          </a:xfrm>
        </p:spPr>
        <p:txBody>
          <a:bodyPr anchor="b" anchorCtr="0"/>
          <a:lstStyle>
            <a:lvl1pPr marL="0" indent="0" algn="l">
              <a:buNone/>
              <a:defRPr sz="200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5000"/>
                    </a:prstClr>
                  </a:outerShdw>
                </a:effectLst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8710A53A-8F37-4A54-B108-F20291A65A07}" type="datetime1">
              <a:rPr lang="en-US" smtClean="0"/>
              <a:t>5/29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6" y="4653136"/>
            <a:ext cx="9217025" cy="720552"/>
          </a:xfrm>
        </p:spPr>
        <p:txBody>
          <a:bodyPr/>
          <a:lstStyle>
            <a:lvl1pPr marL="0" indent="0">
              <a:buFontTx/>
              <a:buNone/>
              <a:defRPr baseline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5000"/>
                    </a:prstClr>
                  </a:outerShdw>
                </a:effectLst>
              </a:defRPr>
            </a:lvl1pPr>
          </a:lstStyle>
          <a:p>
            <a:pPr lvl="0"/>
            <a:r>
              <a:rPr lang="en-US" dirty="0"/>
              <a:t>Name / Title / Date</a:t>
            </a:r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-2098"/>
            <a:ext cx="1299600" cy="8316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fi-FI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9073441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121CAF-D317-4DCC-A77F-86D12F3B7C99}" type="datetime1">
              <a:rPr lang="en-US" smtClean="0"/>
              <a:t>5/29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054532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s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50863" y="1484316"/>
            <a:ext cx="11090274" cy="575767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50863" y="2060849"/>
            <a:ext cx="11090274" cy="4031976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0C5CB8-7C50-4F4F-B76D-095647875652}" type="datetime1">
              <a:rPr lang="en-US" smtClean="0"/>
              <a:t>5/29/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4224178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50866" y="1484313"/>
            <a:ext cx="5401121" cy="4608512"/>
          </a:xfrm>
        </p:spPr>
        <p:txBody>
          <a:bodyPr/>
          <a:lstStyle/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0016" y="1484313"/>
            <a:ext cx="5401122" cy="4608512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D21918-D408-4904-88D9-D0D5917E0717}" type="datetime1">
              <a:rPr lang="en-US" smtClean="0"/>
              <a:t>5/29/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096000" y="1484313"/>
            <a:ext cx="0" cy="4608512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521120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50863" y="1484316"/>
            <a:ext cx="5401122" cy="575767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50863" y="2060849"/>
            <a:ext cx="5401122" cy="4031976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40016" y="1484316"/>
            <a:ext cx="5401122" cy="575767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40016" y="2060851"/>
            <a:ext cx="5401122" cy="4031977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E3B4A1-B525-4542-9D1B-DA0412B20B98}" type="datetime1">
              <a:rPr lang="en-US" smtClean="0"/>
              <a:t>5/29/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/>
              <a:t>‹#›</a:t>
            </a:fld>
            <a:endParaRPr lang="en-US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096000" y="1484313"/>
            <a:ext cx="0" cy="4608512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465642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_content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50864" y="1484316"/>
            <a:ext cx="3528913" cy="575767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50864" y="2060578"/>
            <a:ext cx="3528913" cy="4032249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367760" y="2060810"/>
            <a:ext cx="3456000" cy="4032249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3"/>
          </p:nvPr>
        </p:nvSpPr>
        <p:spPr>
          <a:xfrm>
            <a:off x="8112280" y="1484730"/>
            <a:ext cx="3528490" cy="575767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367760" y="1484730"/>
            <a:ext cx="3456480" cy="575767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4"/>
          </p:nvPr>
        </p:nvSpPr>
        <p:spPr>
          <a:xfrm>
            <a:off x="8112280" y="2060810"/>
            <a:ext cx="3528000" cy="4032249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4223792" y="1484313"/>
            <a:ext cx="0" cy="4608512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7968208" y="1484313"/>
            <a:ext cx="0" cy="4608512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BF2FB3D-F1E0-49B1-9E7B-68A22CAF1D5E}" type="datetime1">
              <a:rPr lang="en-US" smtClean="0"/>
              <a:pPr/>
              <a:t>5/29/19</a:t>
            </a:fld>
            <a:endParaRPr lang="en-US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90E5A77-D385-4CDE-8FE8-D3E3CBE93E7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770042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and_pictur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0866" y="1484313"/>
            <a:ext cx="5401121" cy="4608512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C6D9BF-4C85-4346-807E-60C348958744}" type="datetime1">
              <a:rPr lang="en-US" smtClean="0"/>
              <a:t>5/29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/>
              <a:t>‹#›</a:t>
            </a:fld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6240018" y="4"/>
            <a:ext cx="5951984" cy="6092825"/>
          </a:xfrm>
          <a:solidFill>
            <a:srgbClr val="EAEAEA"/>
          </a:solidFill>
        </p:spPr>
        <p:txBody>
          <a:bodyPr>
            <a:normAutofit/>
          </a:bodyPr>
          <a:lstStyle>
            <a:lvl1pPr marL="0" indent="0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nb-NO"/>
              <a:t>Klikk ikonet for å legge til et bilde</a:t>
            </a:r>
            <a:endParaRPr lang="en-GB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50866" y="476250"/>
            <a:ext cx="5401121" cy="720502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5892305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and_picture_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0866" y="1484313"/>
            <a:ext cx="5401121" cy="4608512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CB7E00-B945-4F51-A85F-AE4A9763A703}" type="datetime1">
              <a:rPr lang="en-US" smtClean="0"/>
              <a:t>5/29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/>
              <a:t>‹#›</a:t>
            </a:fld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6240016" y="1484314"/>
            <a:ext cx="5401122" cy="4608512"/>
          </a:xfrm>
          <a:solidFill>
            <a:srgbClr val="EAEAEA"/>
          </a:solidFill>
        </p:spPr>
        <p:txBody>
          <a:bodyPr>
            <a:normAutofit/>
          </a:bodyPr>
          <a:lstStyle>
            <a:lvl1pPr marL="0" indent="0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nb-NO"/>
              <a:t>Klikk ikonet for å legge til et bilde</a:t>
            </a:r>
            <a:endParaRPr lang="en-GB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233993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067FEF9-BBED-40DF-BAC9-97478DD220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983255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and_pictur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FC8544-27E6-405F-B70F-BD9AC13D8610}" type="datetime1">
              <a:rPr lang="en-US" smtClean="0"/>
              <a:t>5/29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/>
              <a:t>‹#›</a:t>
            </a:fld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50864" y="1484314"/>
            <a:ext cx="11090274" cy="4608512"/>
          </a:xfrm>
          <a:solidFill>
            <a:srgbClr val="EAEAEA"/>
          </a:solidFill>
        </p:spPr>
        <p:txBody>
          <a:bodyPr>
            <a:normAutofit/>
          </a:bodyPr>
          <a:lstStyle>
            <a:lvl1pPr marL="0" indent="0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nb-NO"/>
              <a:t>Klikk ikonet for å legge til et bilde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2898698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tent_and_half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6240018" y="4"/>
            <a:ext cx="5951984" cy="6857996"/>
          </a:xfrm>
          <a:solidFill>
            <a:srgbClr val="EAEAEA"/>
          </a:solidFill>
        </p:spPr>
        <p:txBody>
          <a:bodyPr>
            <a:normAutofit/>
          </a:bodyPr>
          <a:lstStyle>
            <a:lvl1pPr marL="0" indent="0"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nb-NO"/>
              <a:t>Klikk ikonet for å legge til et bild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0866" y="1484313"/>
            <a:ext cx="5401121" cy="4608512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C6D9BF-4C85-4346-807E-60C348958744}" type="datetime1">
              <a:rPr lang="en-US" smtClean="0"/>
              <a:t>5/29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50866" y="476250"/>
            <a:ext cx="5401121" cy="720502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en-GB" dirty="0"/>
          </a:p>
        </p:txBody>
      </p:sp>
      <p:sp>
        <p:nvSpPr>
          <p:cNvPr id="9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10418400" y="6307200"/>
            <a:ext cx="1216800" cy="288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>
            <a:outerShdw blurRad="254000" algn="ctr" rotWithShape="0">
              <a:prstClr val="black">
                <a:alpha val="35000"/>
              </a:prstClr>
            </a:outerShdw>
          </a:effectLst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fi-FI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095702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and_full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2"/>
              </a:buClr>
              <a:buSzTx/>
              <a:buFontTx/>
              <a:buNone/>
              <a:tabLst/>
              <a:defRPr sz="1200"/>
            </a:lvl1pPr>
          </a:lstStyle>
          <a:p>
            <a:r>
              <a:rPr lang="en-US"/>
              <a:t>Select shape and insert picture to change it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121CAF-D317-4DCC-A77F-86D12F3B7C99}" type="datetime1">
              <a:rPr lang="en-US" smtClean="0"/>
              <a:t>5/29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10418400" y="6307200"/>
            <a:ext cx="1216800" cy="288000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fi-FI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3448959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and_nega_full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2"/>
              </a:buClr>
              <a:buSzTx/>
              <a:buFontTx/>
              <a:buNone/>
              <a:tabLst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Select shape and insert picture to change it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5000"/>
                    </a:prstClr>
                  </a:outerShdw>
                </a:effectLst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5000"/>
                    </a:prstClr>
                  </a:outerShdw>
                </a:effectLst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5000"/>
                    </a:prstClr>
                  </a:outerShdw>
                </a:effectLst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5000"/>
                    </a:prstClr>
                  </a:outerShdw>
                </a:effectLst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5000"/>
                    </a:prstClr>
                  </a:outerShdw>
                </a:effectLst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5000"/>
                    </a:prstClr>
                  </a:outerShdw>
                </a:effectLst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5000"/>
                    </a:prstClr>
                  </a:outerShdw>
                </a:effectLst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5000"/>
                    </a:prstClr>
                  </a:outerShdw>
                </a:effectLst>
              </a:defRPr>
            </a:lvl7pPr>
            <a:lvl8pPr>
              <a:buClr>
                <a:schemeClr val="bg1"/>
              </a:buClr>
              <a:defRPr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5000"/>
                    </a:prstClr>
                  </a:outerShdw>
                </a:effectLst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5000"/>
                    </a:prstClr>
                  </a:outerShdw>
                </a:effectLst>
              </a:defRPr>
            </a:lvl9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D121CAF-D317-4DCC-A77F-86D12F3B7C99}" type="datetime1">
              <a:rPr lang="en-US" smtClean="0"/>
              <a:pPr/>
              <a:t>5/29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90E5A77-D385-4CDE-8FE8-D3E3CBE93E7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10418400" y="6307200"/>
            <a:ext cx="1216800" cy="288000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>
            <a:outerShdw blurRad="254000" algn="ctr" rotWithShape="0">
              <a:prstClr val="black">
                <a:alpha val="35000"/>
              </a:prstClr>
            </a:outerShdw>
          </a:effectLst>
        </p:spPr>
        <p:txBody>
          <a:bodyPr>
            <a:normAutofit/>
          </a:bodyPr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fi-FI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3112814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2FA50E-523E-4539-B8AF-18F3E31629C5}" type="datetime1">
              <a:rPr lang="en-US" smtClean="0"/>
              <a:t>5/29/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992262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DD1131-959F-4EEC-9BF5-5DAA7A818719}" type="datetime1">
              <a:rPr lang="en-US" smtClean="0"/>
              <a:t>5/29/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417911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oga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BECFA8CB-ED53-437C-AA8D-E7B2334C8DAD}" type="datetime1">
              <a:rPr lang="en-US" smtClean="0"/>
              <a:t>5/29/19</a:t>
            </a:fld>
            <a:endParaRPr lang="en-US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50864" y="2564908"/>
            <a:ext cx="11090272" cy="1656457"/>
          </a:xfrm>
        </p:spPr>
        <p:txBody>
          <a:bodyPr anchor="ctr" anchorCtr="0"/>
          <a:lstStyle>
            <a:lvl1pPr algn="ctr">
              <a:defRPr sz="5000"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78729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ree Content (St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16" name="Objek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60000" rIns="540000" bIns="234000" numCol="1" anchor="t" anchorCtr="0" compatLnSpc="1">
            <a:prstTxWarp prst="textNoShape">
              <a:avLst/>
            </a:prstTxWarp>
          </a:bodyPr>
          <a:lstStyle>
            <a:lvl1pPr>
              <a:defRPr lang="en-US" sz="3198" dirty="0">
                <a:latin typeface="Arial" pitchFamily="34" charset="0"/>
              </a:defRPr>
            </a:lvl1pPr>
          </a:lstStyle>
          <a:p>
            <a:pPr lvl="0"/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cdtText Box 133 Id16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0" y="6200775"/>
            <a:ext cx="121920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074" tIns="143925" rIns="3209528" bIns="0" anchor="ctr"/>
          <a:lstStyle/>
          <a:p>
            <a:r>
              <a:rPr lang="en-US" sz="999" b="1">
                <a:solidFill>
                  <a:schemeClr val="bg1"/>
                </a:solidFill>
              </a:rPr>
              <a:t>Unrestricted </a:t>
            </a:r>
            <a:r>
              <a:rPr lang="en-US" sz="999" b="1" dirty="0">
                <a:solidFill>
                  <a:schemeClr val="bg1"/>
                </a:solidFill>
              </a:rPr>
              <a:t>© Siemens AG 2017</a:t>
            </a:r>
          </a:p>
        </p:txBody>
      </p:sp>
      <p:grpSp>
        <p:nvGrpSpPr>
          <p:cNvPr id="4" name="Gruppieren 3"/>
          <p:cNvGrpSpPr/>
          <p:nvPr userDrawn="1"/>
        </p:nvGrpSpPr>
        <p:grpSpPr>
          <a:xfrm>
            <a:off x="-215887" y="-216000"/>
            <a:ext cx="11925588" cy="6417308"/>
            <a:chOff x="-216000" y="-216000"/>
            <a:chExt cx="11931799" cy="6417308"/>
          </a:xfrm>
        </p:grpSpPr>
        <p:cxnSp>
          <p:nvCxnSpPr>
            <p:cNvPr id="5" name="Gerade Verbindung 4"/>
            <p:cNvCxnSpPr/>
            <p:nvPr userDrawn="1"/>
          </p:nvCxnSpPr>
          <p:spPr bwMode="auto">
            <a:xfrm>
              <a:off x="626567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" name="Gerade Verbindung 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" name="Gerade Verbindung 6"/>
            <p:cNvCxnSpPr/>
            <p:nvPr userDrawn="1"/>
          </p:nvCxnSpPr>
          <p:spPr bwMode="auto">
            <a:xfrm>
              <a:off x="6243191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" name="Gerade Verbindung 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" name="Gerade Verbindung 8"/>
            <p:cNvCxnSpPr/>
            <p:nvPr userDrawn="1"/>
          </p:nvCxnSpPr>
          <p:spPr bwMode="auto">
            <a:xfrm>
              <a:off x="1171579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" name="Gerade Verbindung 9"/>
            <p:cNvCxnSpPr/>
            <p:nvPr userDrawn="1"/>
          </p:nvCxnSpPr>
          <p:spPr bwMode="auto">
            <a:xfrm rot="5400000">
              <a:off x="-126000" y="24265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Gerade Verbindung 10"/>
            <p:cNvCxnSpPr/>
            <p:nvPr userDrawn="1"/>
          </p:nvCxnSpPr>
          <p:spPr bwMode="auto">
            <a:xfrm rot="5400000">
              <a:off x="-126000" y="9627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Gerade Verbindung 11"/>
            <p:cNvCxnSpPr/>
            <p:nvPr userDrawn="1"/>
          </p:nvCxnSpPr>
          <p:spPr bwMode="auto">
            <a:xfrm rot="5400000">
              <a:off x="-126000" y="135878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Gerade Verbindung 12"/>
            <p:cNvCxnSpPr/>
            <p:nvPr userDrawn="1"/>
          </p:nvCxnSpPr>
          <p:spPr bwMode="auto">
            <a:xfrm rot="5400000">
              <a:off x="-126000" y="36630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Gerade Verbindung 13"/>
            <p:cNvCxnSpPr/>
            <p:nvPr userDrawn="1"/>
          </p:nvCxnSpPr>
          <p:spPr bwMode="auto">
            <a:xfrm rot="5400000">
              <a:off x="-126000" y="380705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" name="Gerade Verbindung 14"/>
            <p:cNvCxnSpPr/>
            <p:nvPr userDrawn="1"/>
          </p:nvCxnSpPr>
          <p:spPr bwMode="auto">
            <a:xfrm rot="5400000">
              <a:off x="-126000" y="611130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981671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bilde 2"/>
          <p:cNvSpPr>
            <a:spLocks noGrp="1"/>
          </p:cNvSpPr>
          <p:nvPr>
            <p:ph type="pic" sz="quarter" idx="10"/>
          </p:nvPr>
        </p:nvSpPr>
        <p:spPr>
          <a:xfrm>
            <a:off x="4637980" y="0"/>
            <a:ext cx="7554020" cy="6858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nb-NO"/>
          </a:p>
        </p:txBody>
      </p:sp>
      <p:pic>
        <p:nvPicPr>
          <p:cNvPr id="5" name="Bild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9921" y="5251182"/>
            <a:ext cx="1712548" cy="7834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88429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tags" Target="../tags/tag3.xml"/><Relationship Id="rId18" Type="http://schemas.openxmlformats.org/officeDocument/2006/relationships/tags" Target="../tags/tag8.xml"/><Relationship Id="rId26" Type="http://schemas.openxmlformats.org/officeDocument/2006/relationships/tags" Target="../tags/tag16.xml"/><Relationship Id="rId39" Type="http://schemas.openxmlformats.org/officeDocument/2006/relationships/oleObject" Target="../embeddings/oleObject1.bin"/><Relationship Id="rId21" Type="http://schemas.openxmlformats.org/officeDocument/2006/relationships/tags" Target="../tags/tag11.xml"/><Relationship Id="rId34" Type="http://schemas.openxmlformats.org/officeDocument/2006/relationships/tags" Target="../tags/tag24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tags" Target="../tags/tag7.xml"/><Relationship Id="rId25" Type="http://schemas.openxmlformats.org/officeDocument/2006/relationships/tags" Target="../tags/tag15.xml"/><Relationship Id="rId33" Type="http://schemas.openxmlformats.org/officeDocument/2006/relationships/tags" Target="../tags/tag23.xml"/><Relationship Id="rId38" Type="http://schemas.openxmlformats.org/officeDocument/2006/relationships/tags" Target="../tags/tag28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6.xml"/><Relationship Id="rId20" Type="http://schemas.openxmlformats.org/officeDocument/2006/relationships/tags" Target="../tags/tag10.xml"/><Relationship Id="rId29" Type="http://schemas.openxmlformats.org/officeDocument/2006/relationships/tags" Target="../tags/tag1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24" Type="http://schemas.openxmlformats.org/officeDocument/2006/relationships/tags" Target="../tags/tag14.xml"/><Relationship Id="rId32" Type="http://schemas.openxmlformats.org/officeDocument/2006/relationships/tags" Target="../tags/tag22.xml"/><Relationship Id="rId37" Type="http://schemas.openxmlformats.org/officeDocument/2006/relationships/tags" Target="../tags/tag27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5.xml"/><Relationship Id="rId23" Type="http://schemas.openxmlformats.org/officeDocument/2006/relationships/tags" Target="../tags/tag13.xml"/><Relationship Id="rId28" Type="http://schemas.openxmlformats.org/officeDocument/2006/relationships/tags" Target="../tags/tag18.xml"/><Relationship Id="rId36" Type="http://schemas.openxmlformats.org/officeDocument/2006/relationships/tags" Target="../tags/tag26.xml"/><Relationship Id="rId10" Type="http://schemas.openxmlformats.org/officeDocument/2006/relationships/vmlDrawing" Target="../drawings/vmlDrawing1.vml"/><Relationship Id="rId19" Type="http://schemas.openxmlformats.org/officeDocument/2006/relationships/tags" Target="../tags/tag9.xml"/><Relationship Id="rId31" Type="http://schemas.openxmlformats.org/officeDocument/2006/relationships/tags" Target="../tags/tag21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tags" Target="../tags/tag4.xml"/><Relationship Id="rId22" Type="http://schemas.openxmlformats.org/officeDocument/2006/relationships/tags" Target="../tags/tag12.xml"/><Relationship Id="rId27" Type="http://schemas.openxmlformats.org/officeDocument/2006/relationships/tags" Target="../tags/tag17.xml"/><Relationship Id="rId30" Type="http://schemas.openxmlformats.org/officeDocument/2006/relationships/tags" Target="../tags/tag20.xml"/><Relationship Id="rId35" Type="http://schemas.openxmlformats.org/officeDocument/2006/relationships/tags" Target="../tags/tag2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slideLayout" Target="../slideLayouts/slideLayout21.xml"/><Relationship Id="rId1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1.xml"/><Relationship Id="rId21" Type="http://schemas.openxmlformats.org/officeDocument/2006/relationships/image" Target="../media/image4.png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1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0.xml"/><Relationship Id="rId16" Type="http://schemas.openxmlformats.org/officeDocument/2006/relationships/slideLayout" Target="../slideLayouts/slideLayout24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27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slideLayout" Target="../slideLayouts/slideLayout2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image" Target="../media/image9.png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image" Target="../media/image8.jpg"/><Relationship Id="rId2" Type="http://schemas.openxmlformats.org/officeDocument/2006/relationships/slideLayout" Target="../slideLayouts/slideLayout29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37.xml"/><Relationship Id="rId19" Type="http://schemas.openxmlformats.org/officeDocument/2006/relationships/image" Target="../media/image10.png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18" Type="http://schemas.openxmlformats.org/officeDocument/2006/relationships/image" Target="../media/image9.png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image" Target="../media/image8.jpg"/><Relationship Id="rId2" Type="http://schemas.openxmlformats.org/officeDocument/2006/relationships/slideLayout" Target="../slideLayouts/slideLayout44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52.xml"/><Relationship Id="rId19" Type="http://schemas.openxmlformats.org/officeDocument/2006/relationships/image" Target="../media/image10.png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slideLayout" Target="../slideLayouts/slideLayout70.xml"/><Relationship Id="rId18" Type="http://schemas.openxmlformats.org/officeDocument/2006/relationships/slideLayout" Target="../slideLayouts/slideLayout75.xml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12" Type="http://schemas.openxmlformats.org/officeDocument/2006/relationships/slideLayout" Target="../slideLayouts/slideLayout69.xml"/><Relationship Id="rId17" Type="http://schemas.openxmlformats.org/officeDocument/2006/relationships/slideLayout" Target="../slideLayouts/slideLayout74.xml"/><Relationship Id="rId2" Type="http://schemas.openxmlformats.org/officeDocument/2006/relationships/slideLayout" Target="../slideLayouts/slideLayout59.xml"/><Relationship Id="rId16" Type="http://schemas.openxmlformats.org/officeDocument/2006/relationships/slideLayout" Target="../slideLayouts/slideLayout73.xml"/><Relationship Id="rId20" Type="http://schemas.openxmlformats.org/officeDocument/2006/relationships/theme" Target="../theme/theme5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2.xml"/><Relationship Id="rId15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67.xml"/><Relationship Id="rId19" Type="http://schemas.openxmlformats.org/officeDocument/2006/relationships/slideLayout" Target="../slideLayouts/slideLayout76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slideLayout" Target="../slideLayouts/slideLayout7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" name="Objekt 53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7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39" imgW="360" imgH="360" progId="TCLayout.ActiveDocument.1">
                  <p:embed/>
                </p:oleObj>
              </mc:Choice>
              <mc:Fallback>
                <p:oleObj name="think-cell Slide" r:id="rId39" imgW="360" imgH="360" progId="TCLayout.ActiveDocument.1">
                  <p:embed/>
                  <p:pic>
                    <p:nvPicPr>
                      <p:cNvPr id="54" name="Objekt 5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12"/>
            </p:custDataLst>
          </p:nvPr>
        </p:nvSpPr>
        <p:spPr bwMode="auto">
          <a:xfrm>
            <a:off x="0" y="-1"/>
            <a:ext cx="12192000" cy="144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746800" bIns="234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13"/>
            </p:custDataLst>
          </p:nvPr>
        </p:nvSpPr>
        <p:spPr bwMode="auto">
          <a:xfrm>
            <a:off x="626736" y="1412876"/>
            <a:ext cx="11082913" cy="215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cxnSp>
        <p:nvCxnSpPr>
          <p:cNvPr id="3072" name="cdtMasterTags_CL1 Id3072"/>
          <p:cNvCxnSpPr/>
          <p:nvPr>
            <p:custDataLst>
              <p:tags r:id="rId1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1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1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1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3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3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3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5" name="cdtTextBox 11 Id18"/>
          <p:cNvSpPr txBox="1"/>
          <p:nvPr>
            <p:custDataLst>
              <p:tags r:id="rId37"/>
            </p:custDataLst>
          </p:nvPr>
        </p:nvSpPr>
        <p:spPr>
          <a:xfrm>
            <a:off x="1" y="6381327"/>
            <a:ext cx="1764366" cy="260350"/>
          </a:xfrm>
          <a:prstGeom prst="rect">
            <a:avLst/>
          </a:prstGeom>
          <a:noFill/>
        </p:spPr>
        <p:txBody>
          <a:bodyPr wrap="square" lIns="626074" tIns="0" rIns="0" bIns="11514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999" dirty="0">
                <a:solidFill>
                  <a:srgbClr val="000000"/>
                </a:solidFill>
              </a:rPr>
              <a:t>Page </a:t>
            </a:r>
            <a:fld id="{91E7552C-A157-4A4F-8E99-698C0325FC94}" type="slidenum">
              <a:rPr lang="en-US" sz="999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en-US" sz="999" dirty="0">
              <a:solidFill>
                <a:srgbClr val="000000"/>
              </a:solidFill>
            </a:endParaRPr>
          </a:p>
        </p:txBody>
      </p:sp>
      <p:grpSp>
        <p:nvGrpSpPr>
          <p:cNvPr id="2" name="Gruppieren 66"/>
          <p:cNvGrpSpPr/>
          <p:nvPr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68" name="Gerade Verbindung 67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80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82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55" name="Rectangle 168"/>
          <p:cNvSpPr>
            <a:spLocks noChangeArrowheads="1"/>
          </p:cNvSpPr>
          <p:nvPr>
            <p:custDataLst>
              <p:tags r:id="rId38"/>
            </p:custDataLst>
          </p:nvPr>
        </p:nvSpPr>
        <p:spPr bwMode="auto">
          <a:xfrm>
            <a:off x="626242" y="6588125"/>
            <a:ext cx="5377236" cy="153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lvl1pPr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100000"/>
              </a:lnSpc>
            </a:pPr>
            <a:r>
              <a:rPr lang="en-US" altLang="de-DE" sz="999" b="1">
                <a:solidFill>
                  <a:srgbClr val="879BAA"/>
                </a:solidFill>
              </a:rPr>
              <a:t>Restricted © Siemens AG 2018. All rights reserved</a:t>
            </a:r>
            <a:endParaRPr lang="en-US" altLang="de-DE" sz="999" b="1" dirty="0">
              <a:solidFill>
                <a:srgbClr val="879BAA"/>
              </a:solidFill>
            </a:endParaRPr>
          </a:p>
        </p:txBody>
      </p:sp>
      <p:grpSp>
        <p:nvGrpSpPr>
          <p:cNvPr id="53" name="Group 33">
            <a:extLst>
              <a:ext uri="{FF2B5EF4-FFF2-40B4-BE49-F238E27FC236}">
                <a16:creationId xmlns:a16="http://schemas.microsoft.com/office/drawing/2014/main" id="{00FB4B07-6BE1-4085-AD07-3640E565707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550189" y="323850"/>
            <a:ext cx="2157876" cy="914400"/>
            <a:chOff x="6019" y="204"/>
            <a:chExt cx="1360" cy="576"/>
          </a:xfrm>
        </p:grpSpPr>
        <p:sp>
          <p:nvSpPr>
            <p:cNvPr id="56" name="AutoShape 32">
              <a:extLst>
                <a:ext uri="{FF2B5EF4-FFF2-40B4-BE49-F238E27FC236}">
                  <a16:creationId xmlns:a16="http://schemas.microsoft.com/office/drawing/2014/main" id="{27E32411-4C31-4F82-9C2E-72FA7CA21E61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57" name="Rectangle 34">
              <a:extLst>
                <a:ext uri="{FF2B5EF4-FFF2-40B4-BE49-F238E27FC236}">
                  <a16:creationId xmlns:a16="http://schemas.microsoft.com/office/drawing/2014/main" id="{7A7BF9CF-0BC2-41AC-8D43-C8D3C68715F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58" name="Freeform 35">
              <a:extLst>
                <a:ext uri="{FF2B5EF4-FFF2-40B4-BE49-F238E27FC236}">
                  <a16:creationId xmlns:a16="http://schemas.microsoft.com/office/drawing/2014/main" id="{C04B62A7-0A08-4009-A656-4D431E5A71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59" name="Freeform 36">
              <a:extLst>
                <a:ext uri="{FF2B5EF4-FFF2-40B4-BE49-F238E27FC236}">
                  <a16:creationId xmlns:a16="http://schemas.microsoft.com/office/drawing/2014/main" id="{B27B67A4-EDA7-4691-9106-1A55E47EBC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60" name="Freeform 37">
              <a:extLst>
                <a:ext uri="{FF2B5EF4-FFF2-40B4-BE49-F238E27FC236}">
                  <a16:creationId xmlns:a16="http://schemas.microsoft.com/office/drawing/2014/main" id="{6B49ADDE-F77F-4C97-B133-B6AFE5FF19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61" name="Freeform 38">
              <a:extLst>
                <a:ext uri="{FF2B5EF4-FFF2-40B4-BE49-F238E27FC236}">
                  <a16:creationId xmlns:a16="http://schemas.microsoft.com/office/drawing/2014/main" id="{F6B3DEB9-26D7-47EC-AB77-6CD19F73D5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62" name="Freeform 39">
              <a:extLst>
                <a:ext uri="{FF2B5EF4-FFF2-40B4-BE49-F238E27FC236}">
                  <a16:creationId xmlns:a16="http://schemas.microsoft.com/office/drawing/2014/main" id="{D4AC9085-029F-4271-AEEF-7277D3A2C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63" name="Freeform 40">
              <a:extLst>
                <a:ext uri="{FF2B5EF4-FFF2-40B4-BE49-F238E27FC236}">
                  <a16:creationId xmlns:a16="http://schemas.microsoft.com/office/drawing/2014/main" id="{545C2209-514B-4920-8A12-11C7EB349E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64" name="Freeform 41">
              <a:extLst>
                <a:ext uri="{FF2B5EF4-FFF2-40B4-BE49-F238E27FC236}">
                  <a16:creationId xmlns:a16="http://schemas.microsoft.com/office/drawing/2014/main" id="{2AAACCE8-6FDE-442A-A659-4537BB8979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66" name="Freeform 42">
              <a:extLst>
                <a:ext uri="{FF2B5EF4-FFF2-40B4-BE49-F238E27FC236}">
                  <a16:creationId xmlns:a16="http://schemas.microsoft.com/office/drawing/2014/main" id="{842B421D-1CDE-49C0-94DC-4DE19133DA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67" name="Freeform 43">
              <a:extLst>
                <a:ext uri="{FF2B5EF4-FFF2-40B4-BE49-F238E27FC236}">
                  <a16:creationId xmlns:a16="http://schemas.microsoft.com/office/drawing/2014/main" id="{281522EF-D725-4F6B-A769-27DB9F4AE6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90" name="Freeform 44">
              <a:extLst>
                <a:ext uri="{FF2B5EF4-FFF2-40B4-BE49-F238E27FC236}">
                  <a16:creationId xmlns:a16="http://schemas.microsoft.com/office/drawing/2014/main" id="{F0176353-A1F5-462A-9A18-4793D31719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91" name="Freeform 45">
              <a:extLst>
                <a:ext uri="{FF2B5EF4-FFF2-40B4-BE49-F238E27FC236}">
                  <a16:creationId xmlns:a16="http://schemas.microsoft.com/office/drawing/2014/main" id="{695A0C31-2E13-4CCF-A5F9-6A2213635E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92" name="Freeform 46">
              <a:extLst>
                <a:ext uri="{FF2B5EF4-FFF2-40B4-BE49-F238E27FC236}">
                  <a16:creationId xmlns:a16="http://schemas.microsoft.com/office/drawing/2014/main" id="{ACC78EB9-4DD3-4E29-95A0-CB9BD51BDB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93" name="Freeform 47">
              <a:extLst>
                <a:ext uri="{FF2B5EF4-FFF2-40B4-BE49-F238E27FC236}">
                  <a16:creationId xmlns:a16="http://schemas.microsoft.com/office/drawing/2014/main" id="{4D49BBCF-F281-4170-88F0-8C69CE1C32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94" name="Freeform 48">
              <a:extLst>
                <a:ext uri="{FF2B5EF4-FFF2-40B4-BE49-F238E27FC236}">
                  <a16:creationId xmlns:a16="http://schemas.microsoft.com/office/drawing/2014/main" id="{19AA6518-8522-4FD3-BB88-9BBCF1B987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95" name="Freeform 49">
              <a:extLst>
                <a:ext uri="{FF2B5EF4-FFF2-40B4-BE49-F238E27FC236}">
                  <a16:creationId xmlns:a16="http://schemas.microsoft.com/office/drawing/2014/main" id="{208E50C5-87B9-442E-93CF-70DBC8F239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96" name="Freeform 50">
              <a:extLst>
                <a:ext uri="{FF2B5EF4-FFF2-40B4-BE49-F238E27FC236}">
                  <a16:creationId xmlns:a16="http://schemas.microsoft.com/office/drawing/2014/main" id="{DBC50F82-ADE0-44CF-8C92-C07E6DDC3D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97" name="Freeform 51">
              <a:extLst>
                <a:ext uri="{FF2B5EF4-FFF2-40B4-BE49-F238E27FC236}">
                  <a16:creationId xmlns:a16="http://schemas.microsoft.com/office/drawing/2014/main" id="{1103C6B3-9CB4-4413-86AE-0CC51381C6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98" name="Freeform 52">
              <a:extLst>
                <a:ext uri="{FF2B5EF4-FFF2-40B4-BE49-F238E27FC236}">
                  <a16:creationId xmlns:a16="http://schemas.microsoft.com/office/drawing/2014/main" id="{D2910F5F-9026-48DB-94A7-036A3BC029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99" name="Freeform 53">
              <a:extLst>
                <a:ext uri="{FF2B5EF4-FFF2-40B4-BE49-F238E27FC236}">
                  <a16:creationId xmlns:a16="http://schemas.microsoft.com/office/drawing/2014/main" id="{B9DC771B-FC8F-4EF2-A4B0-EF4059DA73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100" name="Freeform 54">
              <a:extLst>
                <a:ext uri="{FF2B5EF4-FFF2-40B4-BE49-F238E27FC236}">
                  <a16:creationId xmlns:a16="http://schemas.microsoft.com/office/drawing/2014/main" id="{D8113E22-CF51-47F6-BF62-6C1E6C3B5D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101" name="Freeform 55">
              <a:extLst>
                <a:ext uri="{FF2B5EF4-FFF2-40B4-BE49-F238E27FC236}">
                  <a16:creationId xmlns:a16="http://schemas.microsoft.com/office/drawing/2014/main" id="{08430C47-312E-4DC7-B168-EB1DF3F8DE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102" name="Freeform 56">
              <a:extLst>
                <a:ext uri="{FF2B5EF4-FFF2-40B4-BE49-F238E27FC236}">
                  <a16:creationId xmlns:a16="http://schemas.microsoft.com/office/drawing/2014/main" id="{BD6E6E71-9740-4549-B69E-31DA7412F1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103" name="Freeform 57">
              <a:extLst>
                <a:ext uri="{FF2B5EF4-FFF2-40B4-BE49-F238E27FC236}">
                  <a16:creationId xmlns:a16="http://schemas.microsoft.com/office/drawing/2014/main" id="{C627A46A-ECDF-4C94-A921-34B9BBEB2A9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104" name="Freeform 58">
              <a:extLst>
                <a:ext uri="{FF2B5EF4-FFF2-40B4-BE49-F238E27FC236}">
                  <a16:creationId xmlns:a16="http://schemas.microsoft.com/office/drawing/2014/main" id="{0B3A32E0-683B-4E9B-8C41-BC4D19AC9F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  <p:sp>
          <p:nvSpPr>
            <p:cNvPr id="105" name="Freeform 59">
              <a:extLst>
                <a:ext uri="{FF2B5EF4-FFF2-40B4-BE49-F238E27FC236}">
                  <a16:creationId xmlns:a16="http://schemas.microsoft.com/office/drawing/2014/main" id="{7BFF5F87-0BBC-4A01-82BF-DBC5E73585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799" dirty="0">
                <a:solidFill>
                  <a:srgbClr val="ADBECB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262960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702" r:id="rId8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199" b="1">
          <a:solidFill>
            <a:srgbClr val="00646E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ＭＳ Ｐゴシック" charset="-128"/>
        </a:defRPr>
      </a:lvl5pPr>
      <a:lvl6pPr marL="456971"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ヒラギノ角ゴ Pro W3" charset="0"/>
        </a:defRPr>
      </a:lvl6pPr>
      <a:lvl7pPr marL="913943"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ヒラギノ角ゴ Pro W3" charset="0"/>
        </a:defRPr>
      </a:lvl7pPr>
      <a:lvl8pPr marL="1370914"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ヒラギノ角ゴ Pro W3" charset="0"/>
        </a:defRPr>
      </a:lvl8pPr>
      <a:lvl9pPr marL="1827886"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1"/>
        </a:buClr>
        <a:buFont typeface="Arial" pitchFamily="34" charset="0"/>
        <a:buNone/>
        <a:tabLst/>
        <a:defRPr sz="1399" b="0" i="0">
          <a:solidFill>
            <a:srgbClr val="000000"/>
          </a:solidFill>
          <a:latin typeface="Arial"/>
          <a:ea typeface="+mn-ea"/>
          <a:cs typeface="Arial" pitchFamily="34" charset="0"/>
        </a:defRPr>
      </a:lvl1pPr>
      <a:lvl2pPr marL="179298" indent="-177711" algn="l" rtl="0" eaLnBrk="1" fontAlgn="base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1"/>
        </a:buClr>
        <a:buChar char="•"/>
        <a:tabLst/>
        <a:defRPr sz="1399" b="0" i="0">
          <a:solidFill>
            <a:srgbClr val="000000"/>
          </a:solidFill>
          <a:latin typeface="Arial"/>
          <a:ea typeface="+mn-ea"/>
          <a:cs typeface="Arial" pitchFamily="34" charset="0"/>
        </a:defRPr>
      </a:lvl2pPr>
      <a:lvl3pPr marL="358596" indent="-177711" algn="l" rtl="0" eaLnBrk="1" fontAlgn="base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1"/>
        </a:buClr>
        <a:buChar char="•"/>
        <a:tabLst/>
        <a:defRPr sz="1399" b="0" i="0">
          <a:solidFill>
            <a:srgbClr val="000000"/>
          </a:solidFill>
          <a:latin typeface="Arial"/>
          <a:ea typeface="+mn-ea"/>
          <a:cs typeface="Arial" pitchFamily="34" charset="0"/>
        </a:defRPr>
      </a:lvl3pPr>
      <a:lvl4pPr marL="537894" indent="-177711" algn="l" rtl="0" eaLnBrk="1" fontAlgn="base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1"/>
        </a:buClr>
        <a:buChar char="•"/>
        <a:tabLst/>
        <a:defRPr sz="1399" b="0" i="0">
          <a:solidFill>
            <a:srgbClr val="000000"/>
          </a:solidFill>
          <a:latin typeface="Arial"/>
          <a:ea typeface="+mn-ea"/>
          <a:cs typeface="Arial" pitchFamily="34" charset="0"/>
        </a:defRPr>
      </a:lvl4pPr>
      <a:lvl5pPr marL="717191" indent="-177711" algn="l" rtl="0" eaLnBrk="1" fontAlgn="base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1"/>
        </a:buClr>
        <a:buChar char="•"/>
        <a:tabLst/>
        <a:defRPr sz="1399" b="0" i="0" baseline="0">
          <a:solidFill>
            <a:srgbClr val="000000"/>
          </a:solidFill>
          <a:latin typeface="Arial"/>
          <a:ea typeface="+mn-ea"/>
          <a:cs typeface="Arial" pitchFamily="34" charset="0"/>
        </a:defRPr>
      </a:lvl5pPr>
      <a:lvl6pPr marL="1220178" indent="-188819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149" indent="-188819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4120" indent="-188819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1092" indent="-188819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718929" y="540249"/>
            <a:ext cx="10754144" cy="9004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1027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720417" y="1512096"/>
            <a:ext cx="10752656" cy="43651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718931" y="6308826"/>
            <a:ext cx="2354748" cy="366117"/>
          </a:xfrm>
          <a:prstGeom prst="rect">
            <a:avLst/>
          </a:prstGeom>
        </p:spPr>
        <p:txBody>
          <a:bodyPr vert="horz" wrap="square" lIns="0" tIns="64990" rIns="129978" bIns="64990" numCol="1" anchor="ctr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9F0A8543-B8D4-5640-B923-FE5CBA124820}" type="datetime3">
              <a:rPr lang="nb-NO" smtClean="0"/>
              <a:pPr>
                <a:defRPr/>
              </a:pPr>
              <a:t>2019.05.29</a:t>
            </a:fld>
            <a:endParaRPr lang="en-US"/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0721" y="6228000"/>
            <a:ext cx="900058" cy="411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72823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  <p:sldLayoutId id="2147483757" r:id="rId18"/>
    <p:sldLayoutId id="2147483758" r:id="rId19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700" b="1" kern="1200">
          <a:solidFill>
            <a:schemeClr val="tx1"/>
          </a:solidFill>
          <a:latin typeface="Arial" pitchFamily="34" charset="0"/>
          <a:ea typeface="MS PGothic" pitchFamily="34" charset="-128"/>
          <a:cs typeface="Geneva" pitchFamily="-106" charset="-128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pitchFamily="-106" charset="0"/>
          <a:ea typeface="MS PGothic" pitchFamily="34" charset="-128"/>
          <a:cs typeface="Geneva" pitchFamily="-106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pitchFamily="-106" charset="0"/>
          <a:ea typeface="MS PGothic" pitchFamily="34" charset="-128"/>
          <a:cs typeface="Geneva" pitchFamily="-106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pitchFamily="-106" charset="0"/>
          <a:ea typeface="MS PGothic" pitchFamily="34" charset="-128"/>
          <a:cs typeface="Geneva" pitchFamily="-106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pitchFamily="-106" charset="0"/>
          <a:ea typeface="MS PGothic" pitchFamily="34" charset="-128"/>
          <a:cs typeface="Geneva" pitchFamily="-106" charset="-128"/>
        </a:defRPr>
      </a:lvl5pPr>
      <a:lvl6pPr marL="609137" algn="l" rtl="0" eaLnBrk="1" fontAlgn="base" hangingPunct="1">
        <a:spcBef>
          <a:spcPct val="0"/>
        </a:spcBef>
        <a:spcAft>
          <a:spcPct val="0"/>
        </a:spcAft>
        <a:defRPr sz="4030" b="1">
          <a:solidFill>
            <a:srgbClr val="024731"/>
          </a:solidFill>
          <a:latin typeface="Arial" pitchFamily="-106" charset="0"/>
          <a:ea typeface="Geneva" pitchFamily="-106" charset="-128"/>
          <a:cs typeface="Geneva" pitchFamily="-106" charset="-128"/>
        </a:defRPr>
      </a:lvl6pPr>
      <a:lvl7pPr marL="1218275" algn="l" rtl="0" eaLnBrk="1" fontAlgn="base" hangingPunct="1">
        <a:spcBef>
          <a:spcPct val="0"/>
        </a:spcBef>
        <a:spcAft>
          <a:spcPct val="0"/>
        </a:spcAft>
        <a:defRPr sz="4030" b="1">
          <a:solidFill>
            <a:srgbClr val="024731"/>
          </a:solidFill>
          <a:latin typeface="Arial" pitchFamily="-106" charset="0"/>
          <a:ea typeface="Geneva" pitchFamily="-106" charset="-128"/>
          <a:cs typeface="Geneva" pitchFamily="-106" charset="-128"/>
        </a:defRPr>
      </a:lvl7pPr>
      <a:lvl8pPr marL="1827411" algn="l" rtl="0" eaLnBrk="1" fontAlgn="base" hangingPunct="1">
        <a:spcBef>
          <a:spcPct val="0"/>
        </a:spcBef>
        <a:spcAft>
          <a:spcPct val="0"/>
        </a:spcAft>
        <a:defRPr sz="4030" b="1">
          <a:solidFill>
            <a:srgbClr val="024731"/>
          </a:solidFill>
          <a:latin typeface="Arial" pitchFamily="-106" charset="0"/>
          <a:ea typeface="Geneva" pitchFamily="-106" charset="-128"/>
          <a:cs typeface="Geneva" pitchFamily="-106" charset="-128"/>
        </a:defRPr>
      </a:lvl8pPr>
      <a:lvl9pPr marL="2436547" algn="l" rtl="0" eaLnBrk="1" fontAlgn="base" hangingPunct="1">
        <a:spcBef>
          <a:spcPct val="0"/>
        </a:spcBef>
        <a:spcAft>
          <a:spcPct val="0"/>
        </a:spcAft>
        <a:defRPr sz="4030" b="1">
          <a:solidFill>
            <a:srgbClr val="024731"/>
          </a:solidFill>
          <a:latin typeface="Arial" pitchFamily="-106" charset="0"/>
          <a:ea typeface="Geneva" pitchFamily="-106" charset="-128"/>
          <a:cs typeface="Geneva" pitchFamily="-106" charset="-128"/>
        </a:defRPr>
      </a:lvl9pPr>
    </p:titleStyle>
    <p:bodyStyle>
      <a:lvl1pPr marL="235071" indent="-235071" algn="l" rtl="0" eaLnBrk="0" fontAlgn="base" hangingPunct="0">
        <a:spcBef>
          <a:spcPts val="450"/>
        </a:spcBef>
        <a:spcAft>
          <a:spcPts val="450"/>
        </a:spcAft>
        <a:buClr>
          <a:schemeClr val="tx1"/>
        </a:buClr>
        <a:buFont typeface="Arial" charset="0"/>
        <a:buChar char="•"/>
        <a:defRPr sz="1500" kern="1200">
          <a:solidFill>
            <a:schemeClr val="tx1">
              <a:lumMod val="85000"/>
              <a:lumOff val="15000"/>
            </a:schemeClr>
          </a:solidFill>
          <a:latin typeface="Arial" pitchFamily="34" charset="0"/>
          <a:ea typeface="MS PGothic" pitchFamily="34" charset="-128"/>
          <a:cs typeface="Geneva" pitchFamily="-106" charset="-128"/>
        </a:defRPr>
      </a:lvl1pPr>
      <a:lvl2pPr marL="571312" indent="-284169" algn="l" rtl="0" eaLnBrk="0" fontAlgn="base" hangingPunct="0">
        <a:spcBef>
          <a:spcPts val="398"/>
        </a:spcBef>
        <a:spcAft>
          <a:spcPct val="0"/>
        </a:spcAft>
        <a:buClr>
          <a:schemeClr val="tx1"/>
        </a:buClr>
        <a:buFont typeface="Arial" charset="0"/>
        <a:buChar char="–"/>
        <a:defRPr sz="1350" kern="1200">
          <a:solidFill>
            <a:schemeClr val="tx1">
              <a:lumMod val="85000"/>
              <a:lumOff val="15000"/>
            </a:schemeClr>
          </a:solidFill>
          <a:latin typeface="Arial" pitchFamily="34" charset="0"/>
          <a:ea typeface="Geneva" pitchFamily="-106" charset="-128"/>
          <a:cs typeface="Geneva"/>
        </a:defRPr>
      </a:lvl2pPr>
      <a:lvl3pPr marL="812334" indent="-236559" algn="l" rtl="0" eaLnBrk="0" fontAlgn="base" hangingPunct="0">
        <a:spcBef>
          <a:spcPts val="398"/>
        </a:spcBef>
        <a:spcAft>
          <a:spcPct val="0"/>
        </a:spcAft>
        <a:buClr>
          <a:schemeClr val="tx1"/>
        </a:buClr>
        <a:buFont typeface="Arial" charset="0"/>
        <a:buChar char="•"/>
        <a:defRPr sz="1200" kern="1200">
          <a:solidFill>
            <a:schemeClr val="tx1">
              <a:lumMod val="85000"/>
              <a:lumOff val="15000"/>
            </a:schemeClr>
          </a:solidFill>
          <a:latin typeface="Arial" pitchFamily="34" charset="0"/>
          <a:ea typeface="Geneva" pitchFamily="-106" charset="-128"/>
          <a:cs typeface="Geneva"/>
        </a:defRPr>
      </a:lvl3pPr>
      <a:lvl4pPr marL="1196186" indent="-284169" algn="l" rtl="0" eaLnBrk="0" fontAlgn="base" hangingPunct="0">
        <a:spcBef>
          <a:spcPts val="398"/>
        </a:spcBef>
        <a:spcAft>
          <a:spcPct val="0"/>
        </a:spcAft>
        <a:buClr>
          <a:schemeClr val="tx1"/>
        </a:buClr>
        <a:buFont typeface="Arial" charset="0"/>
        <a:buChar char="–"/>
        <a:defRPr sz="1050" kern="1200">
          <a:solidFill>
            <a:schemeClr val="tx1">
              <a:lumMod val="85000"/>
              <a:lumOff val="15000"/>
            </a:schemeClr>
          </a:solidFill>
          <a:latin typeface="Arial" pitchFamily="34" charset="0"/>
          <a:ea typeface="Geneva" pitchFamily="-106" charset="-128"/>
          <a:cs typeface="Geneva"/>
        </a:defRPr>
      </a:lvl4pPr>
      <a:lvl5pPr marL="1483331" indent="-284169" algn="l" rtl="0" eaLnBrk="0" fontAlgn="base" hangingPunct="0">
        <a:spcBef>
          <a:spcPts val="398"/>
        </a:spcBef>
        <a:spcAft>
          <a:spcPct val="0"/>
        </a:spcAft>
        <a:buClr>
          <a:schemeClr val="tx1"/>
        </a:buClr>
        <a:buFont typeface="Arial" charset="0"/>
        <a:buChar char="»"/>
        <a:defRPr sz="900" kern="1200">
          <a:solidFill>
            <a:schemeClr val="tx1">
              <a:lumMod val="85000"/>
              <a:lumOff val="15000"/>
            </a:schemeClr>
          </a:solidFill>
          <a:latin typeface="Arial" pitchFamily="34" charset="0"/>
          <a:ea typeface="Geneva" pitchFamily="-106" charset="-128"/>
          <a:cs typeface="Geneva"/>
        </a:defRPr>
      </a:lvl5pPr>
      <a:lvl6pPr marL="3350252" indent="-304567" algn="l" defTabSz="1218275" rtl="0" eaLnBrk="1" latinLnBrk="0" hangingPunct="1">
        <a:spcBef>
          <a:spcPct val="20000"/>
        </a:spcBef>
        <a:buFont typeface="Arial" pitchFamily="34" charset="0"/>
        <a:buChar char="•"/>
        <a:defRPr sz="2625" kern="1200">
          <a:solidFill>
            <a:schemeClr val="tx1"/>
          </a:solidFill>
          <a:latin typeface="+mn-lt"/>
          <a:ea typeface="+mn-ea"/>
          <a:cs typeface="+mn-cs"/>
        </a:defRPr>
      </a:lvl6pPr>
      <a:lvl7pPr marL="3959390" indent="-304567" algn="l" defTabSz="1218275" rtl="0" eaLnBrk="1" latinLnBrk="0" hangingPunct="1">
        <a:spcBef>
          <a:spcPct val="20000"/>
        </a:spcBef>
        <a:buFont typeface="Arial" pitchFamily="34" charset="0"/>
        <a:buChar char="•"/>
        <a:defRPr sz="2625" kern="1200">
          <a:solidFill>
            <a:schemeClr val="tx1"/>
          </a:solidFill>
          <a:latin typeface="+mn-lt"/>
          <a:ea typeface="+mn-ea"/>
          <a:cs typeface="+mn-cs"/>
        </a:defRPr>
      </a:lvl7pPr>
      <a:lvl8pPr marL="4568527" indent="-304567" algn="l" defTabSz="1218275" rtl="0" eaLnBrk="1" latinLnBrk="0" hangingPunct="1">
        <a:spcBef>
          <a:spcPct val="20000"/>
        </a:spcBef>
        <a:buFont typeface="Arial" pitchFamily="34" charset="0"/>
        <a:buChar char="•"/>
        <a:defRPr sz="2625" kern="1200">
          <a:solidFill>
            <a:schemeClr val="tx1"/>
          </a:solidFill>
          <a:latin typeface="+mn-lt"/>
          <a:ea typeface="+mn-ea"/>
          <a:cs typeface="+mn-cs"/>
        </a:defRPr>
      </a:lvl8pPr>
      <a:lvl9pPr marL="5177663" indent="-304567" algn="l" defTabSz="1218275" rtl="0" eaLnBrk="1" latinLnBrk="0" hangingPunct="1">
        <a:spcBef>
          <a:spcPct val="20000"/>
        </a:spcBef>
        <a:buFont typeface="Arial" pitchFamily="34" charset="0"/>
        <a:buChar char="•"/>
        <a:defRPr sz="26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218275" rtl="0" eaLnBrk="1" latinLnBrk="0" hangingPunct="1">
        <a:defRPr sz="2343" kern="1200">
          <a:solidFill>
            <a:schemeClr val="tx1"/>
          </a:solidFill>
          <a:latin typeface="+mn-lt"/>
          <a:ea typeface="+mn-ea"/>
          <a:cs typeface="+mn-cs"/>
        </a:defRPr>
      </a:lvl1pPr>
      <a:lvl2pPr marL="609137" algn="l" defTabSz="1218275" rtl="0" eaLnBrk="1" latinLnBrk="0" hangingPunct="1">
        <a:defRPr sz="2343" kern="1200">
          <a:solidFill>
            <a:schemeClr val="tx1"/>
          </a:solidFill>
          <a:latin typeface="+mn-lt"/>
          <a:ea typeface="+mn-ea"/>
          <a:cs typeface="+mn-cs"/>
        </a:defRPr>
      </a:lvl2pPr>
      <a:lvl3pPr marL="1218275" algn="l" defTabSz="1218275" rtl="0" eaLnBrk="1" latinLnBrk="0" hangingPunct="1">
        <a:defRPr sz="2343" kern="1200">
          <a:solidFill>
            <a:schemeClr val="tx1"/>
          </a:solidFill>
          <a:latin typeface="+mn-lt"/>
          <a:ea typeface="+mn-ea"/>
          <a:cs typeface="+mn-cs"/>
        </a:defRPr>
      </a:lvl3pPr>
      <a:lvl4pPr marL="1827411" algn="l" defTabSz="1218275" rtl="0" eaLnBrk="1" latinLnBrk="0" hangingPunct="1">
        <a:defRPr sz="2343" kern="1200">
          <a:solidFill>
            <a:schemeClr val="tx1"/>
          </a:solidFill>
          <a:latin typeface="+mn-lt"/>
          <a:ea typeface="+mn-ea"/>
          <a:cs typeface="+mn-cs"/>
        </a:defRPr>
      </a:lvl4pPr>
      <a:lvl5pPr marL="2436547" algn="l" defTabSz="1218275" rtl="0" eaLnBrk="1" latinLnBrk="0" hangingPunct="1">
        <a:defRPr sz="2343" kern="1200">
          <a:solidFill>
            <a:schemeClr val="tx1"/>
          </a:solidFill>
          <a:latin typeface="+mn-lt"/>
          <a:ea typeface="+mn-ea"/>
          <a:cs typeface="+mn-cs"/>
        </a:defRPr>
      </a:lvl5pPr>
      <a:lvl6pPr marL="3045684" algn="l" defTabSz="1218275" rtl="0" eaLnBrk="1" latinLnBrk="0" hangingPunct="1">
        <a:defRPr sz="2343" kern="1200">
          <a:solidFill>
            <a:schemeClr val="tx1"/>
          </a:solidFill>
          <a:latin typeface="+mn-lt"/>
          <a:ea typeface="+mn-ea"/>
          <a:cs typeface="+mn-cs"/>
        </a:defRPr>
      </a:lvl6pPr>
      <a:lvl7pPr marL="3654824" algn="l" defTabSz="1218275" rtl="0" eaLnBrk="1" latinLnBrk="0" hangingPunct="1">
        <a:defRPr sz="2343" kern="1200">
          <a:solidFill>
            <a:schemeClr val="tx1"/>
          </a:solidFill>
          <a:latin typeface="+mn-lt"/>
          <a:ea typeface="+mn-ea"/>
          <a:cs typeface="+mn-cs"/>
        </a:defRPr>
      </a:lvl7pPr>
      <a:lvl8pPr marL="4263958" algn="l" defTabSz="1218275" rtl="0" eaLnBrk="1" latinLnBrk="0" hangingPunct="1">
        <a:defRPr sz="2343" kern="1200">
          <a:solidFill>
            <a:schemeClr val="tx1"/>
          </a:solidFill>
          <a:latin typeface="+mn-lt"/>
          <a:ea typeface="+mn-ea"/>
          <a:cs typeface="+mn-cs"/>
        </a:defRPr>
      </a:lvl8pPr>
      <a:lvl9pPr marL="4873095" algn="l" defTabSz="1218275" rtl="0" eaLnBrk="1" latinLnBrk="0" hangingPunct="1">
        <a:defRPr sz="234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>
          <a:blip r:embed="rId17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ktangel 17">
            <a:extLst>
              <a:ext uri="{FF2B5EF4-FFF2-40B4-BE49-F238E27FC236}">
                <a16:creationId xmlns:a16="http://schemas.microsoft.com/office/drawing/2014/main" id="{79BECCE7-CC32-4813-9D40-67C1EC96AD76}"/>
              </a:ext>
            </a:extLst>
          </p:cNvPr>
          <p:cNvSpPr/>
          <p:nvPr userDrawn="1"/>
        </p:nvSpPr>
        <p:spPr>
          <a:xfrm>
            <a:off x="1" y="6517314"/>
            <a:ext cx="12192000" cy="34068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266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350334" y="714699"/>
            <a:ext cx="8575928" cy="584390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50335" y="2464998"/>
            <a:ext cx="8945950" cy="371196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8065" y="6633484"/>
            <a:ext cx="2743200" cy="108220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703">
                <a:solidFill>
                  <a:schemeClr val="lt1"/>
                </a:solidFill>
              </a:defRPr>
            </a:lvl1pPr>
          </a:lstStyle>
          <a:p>
            <a:r>
              <a:rPr lang="nb-NO" dirty="0"/>
              <a:t>Dato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30932" y="6633484"/>
            <a:ext cx="188053" cy="10822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703" b="1">
                <a:solidFill>
                  <a:schemeClr val="lt1"/>
                </a:solidFill>
              </a:defRPr>
            </a:lvl1pPr>
          </a:lstStyle>
          <a:p>
            <a:fld id="{D5DAC896-3290-4F14-BAAE-6BA5F8CCFA8A}" type="slidenum">
              <a:rPr lang="nb-NO" smtClean="0"/>
              <a:pPr/>
              <a:t>‹#›</a:t>
            </a:fld>
            <a:endParaRPr lang="nb-NO" dirty="0"/>
          </a:p>
        </p:txBody>
      </p:sp>
      <p:cxnSp>
        <p:nvCxnSpPr>
          <p:cNvPr id="16" name="Rett linje 15">
            <a:extLst>
              <a:ext uri="{FF2B5EF4-FFF2-40B4-BE49-F238E27FC236}">
                <a16:creationId xmlns:a16="http://schemas.microsoft.com/office/drawing/2014/main" id="{890384CB-A8C3-4348-83D4-F68D61547F7F}"/>
              </a:ext>
            </a:extLst>
          </p:cNvPr>
          <p:cNvCxnSpPr/>
          <p:nvPr userDrawn="1"/>
        </p:nvCxnSpPr>
        <p:spPr>
          <a:xfrm>
            <a:off x="410291" y="6644201"/>
            <a:ext cx="0" cy="108220"/>
          </a:xfrm>
          <a:prstGeom prst="line">
            <a:avLst/>
          </a:prstGeom>
          <a:ln w="12700">
            <a:solidFill>
              <a:schemeClr val="l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llipse 11">
            <a:extLst>
              <a:ext uri="{FF2B5EF4-FFF2-40B4-BE49-F238E27FC236}">
                <a16:creationId xmlns:a16="http://schemas.microsoft.com/office/drawing/2014/main" id="{1D023662-547A-4641-A306-275656F81D68}"/>
              </a:ext>
            </a:extLst>
          </p:cNvPr>
          <p:cNvSpPr/>
          <p:nvPr userDrawn="1"/>
        </p:nvSpPr>
        <p:spPr>
          <a:xfrm>
            <a:off x="10758710" y="344255"/>
            <a:ext cx="1012654" cy="1012665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266"/>
          </a:p>
        </p:txBody>
      </p:sp>
      <p:pic>
        <p:nvPicPr>
          <p:cNvPr id="13" name="Bilde 12">
            <a:extLst>
              <a:ext uri="{FF2B5EF4-FFF2-40B4-BE49-F238E27FC236}">
                <a16:creationId xmlns:a16="http://schemas.microsoft.com/office/drawing/2014/main" id="{987FDECA-DF10-4D2A-AC29-BB1416B79B51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8710" y="344255"/>
            <a:ext cx="1012654" cy="1012665"/>
          </a:xfrm>
          <a:prstGeom prst="rect">
            <a:avLst/>
          </a:prstGeom>
        </p:spPr>
      </p:pic>
      <p:pic>
        <p:nvPicPr>
          <p:cNvPr id="14" name="Bilde 13">
            <a:extLst>
              <a:ext uri="{FF2B5EF4-FFF2-40B4-BE49-F238E27FC236}">
                <a16:creationId xmlns:a16="http://schemas.microsoft.com/office/drawing/2014/main" id="{40D4CD59-31FC-42F6-A44C-2DFF7DA4674E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9819" y="6592209"/>
            <a:ext cx="2692181" cy="265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60487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  <p:sldLayoutId id="2147483768" r:id="rId9"/>
    <p:sldLayoutId id="2147483769" r:id="rId10"/>
    <p:sldLayoutId id="2147483770" r:id="rId11"/>
    <p:sldLayoutId id="2147483771" r:id="rId12"/>
    <p:sldLayoutId id="2147483772" r:id="rId13"/>
    <p:sldLayoutId id="2147483773" r:id="rId14"/>
    <p:sldLayoutId id="2147483774" r:id="rId15"/>
  </p:sldLayoutIdLst>
  <p:hf hdr="0" ftr="0"/>
  <p:txStyles>
    <p:titleStyle>
      <a:lvl1pPr algn="l" defTabSz="914332" rtl="0" eaLnBrk="1" latinLnBrk="0" hangingPunct="1">
        <a:lnSpc>
          <a:spcPct val="100000"/>
        </a:lnSpc>
        <a:spcBef>
          <a:spcPct val="0"/>
        </a:spcBef>
        <a:buNone/>
        <a:defRPr sz="3797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3" indent="-228583" algn="l" defTabSz="914332" rtl="0" eaLnBrk="1" latinLnBrk="0" hangingPunct="1">
        <a:lnSpc>
          <a:spcPct val="100000"/>
        </a:lnSpc>
        <a:spcBef>
          <a:spcPts val="0"/>
        </a:spcBef>
        <a:buClr>
          <a:schemeClr val="tx2"/>
        </a:buClr>
        <a:buFont typeface="Arial" panose="020B0604020202020204" pitchFamily="34" charset="0"/>
        <a:buChar char="•"/>
        <a:defRPr sz="2602" kern="1200">
          <a:solidFill>
            <a:schemeClr val="tx1"/>
          </a:solidFill>
          <a:latin typeface="+mn-lt"/>
          <a:ea typeface="+mn-ea"/>
          <a:cs typeface="+mn-cs"/>
        </a:defRPr>
      </a:lvl1pPr>
      <a:lvl2pPr marL="685749" indent="-228583" algn="l" defTabSz="914332" rtl="0" eaLnBrk="1" latinLnBrk="0" hangingPunct="1">
        <a:lnSpc>
          <a:spcPct val="100000"/>
        </a:lnSpc>
        <a:spcBef>
          <a:spcPts val="0"/>
        </a:spcBef>
        <a:buClr>
          <a:schemeClr val="tx2"/>
        </a:buClr>
        <a:buFont typeface="Arial" panose="020B0604020202020204" pitchFamily="34" charset="0"/>
        <a:buChar char="•"/>
        <a:defRPr sz="2602" kern="1200">
          <a:solidFill>
            <a:schemeClr val="tx1"/>
          </a:solidFill>
          <a:latin typeface="+mn-lt"/>
          <a:ea typeface="+mn-ea"/>
          <a:cs typeface="+mn-cs"/>
        </a:defRPr>
      </a:lvl2pPr>
      <a:lvl3pPr marL="1142915" indent="-228583" algn="l" defTabSz="914332" rtl="0" eaLnBrk="1" latinLnBrk="0" hangingPunct="1">
        <a:lnSpc>
          <a:spcPct val="100000"/>
        </a:lnSpc>
        <a:spcBef>
          <a:spcPts val="0"/>
        </a:spcBef>
        <a:buClr>
          <a:schemeClr val="tx2"/>
        </a:buClr>
        <a:buFont typeface="Arial" panose="020B0604020202020204" pitchFamily="34" charset="0"/>
        <a:buChar char="•"/>
        <a:defRPr sz="2602" kern="1200">
          <a:solidFill>
            <a:schemeClr val="tx1"/>
          </a:solidFill>
          <a:latin typeface="+mn-lt"/>
          <a:ea typeface="+mn-ea"/>
          <a:cs typeface="+mn-cs"/>
        </a:defRPr>
      </a:lvl3pPr>
      <a:lvl4pPr marL="1600080" indent="-228583" algn="l" defTabSz="914332" rtl="0" eaLnBrk="1" latinLnBrk="0" hangingPunct="1">
        <a:lnSpc>
          <a:spcPct val="100000"/>
        </a:lnSpc>
        <a:spcBef>
          <a:spcPts val="0"/>
        </a:spcBef>
        <a:buClr>
          <a:schemeClr val="tx2"/>
        </a:buClr>
        <a:buFont typeface="Arial" panose="020B0604020202020204" pitchFamily="34" charset="0"/>
        <a:buChar char="•"/>
        <a:defRPr sz="2602" kern="1200">
          <a:solidFill>
            <a:schemeClr val="tx1"/>
          </a:solidFill>
          <a:latin typeface="+mn-lt"/>
          <a:ea typeface="+mn-ea"/>
          <a:cs typeface="+mn-cs"/>
        </a:defRPr>
      </a:lvl4pPr>
      <a:lvl5pPr marL="2057247" indent="-228583" algn="l" defTabSz="914332" rtl="0" eaLnBrk="1" latinLnBrk="0" hangingPunct="1">
        <a:lnSpc>
          <a:spcPct val="100000"/>
        </a:lnSpc>
        <a:spcBef>
          <a:spcPts val="0"/>
        </a:spcBef>
        <a:buClr>
          <a:schemeClr val="tx2"/>
        </a:buClr>
        <a:buFont typeface="Arial" panose="020B0604020202020204" pitchFamily="34" charset="0"/>
        <a:buChar char="•"/>
        <a:defRPr sz="2602" kern="1200">
          <a:solidFill>
            <a:schemeClr val="tx1"/>
          </a:solidFill>
          <a:latin typeface="+mn-lt"/>
          <a:ea typeface="+mn-ea"/>
          <a:cs typeface="+mn-cs"/>
        </a:defRPr>
      </a:lvl5pPr>
      <a:lvl6pPr marL="2514413" indent="-228583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3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3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3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5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1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>
          <a:blip r:embed="rId17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ktangel 17">
            <a:extLst>
              <a:ext uri="{FF2B5EF4-FFF2-40B4-BE49-F238E27FC236}">
                <a16:creationId xmlns:a16="http://schemas.microsoft.com/office/drawing/2014/main" id="{79BECCE7-CC32-4813-9D40-67C1EC96AD76}"/>
              </a:ext>
            </a:extLst>
          </p:cNvPr>
          <p:cNvSpPr/>
          <p:nvPr userDrawn="1"/>
        </p:nvSpPr>
        <p:spPr>
          <a:xfrm>
            <a:off x="1" y="6517314"/>
            <a:ext cx="12192000" cy="34068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266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350334" y="714699"/>
            <a:ext cx="8575928" cy="584390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50335" y="2464998"/>
            <a:ext cx="8945950" cy="371196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8065" y="6633484"/>
            <a:ext cx="2743200" cy="108220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703">
                <a:solidFill>
                  <a:schemeClr val="lt1"/>
                </a:solidFill>
              </a:defRPr>
            </a:lvl1pPr>
          </a:lstStyle>
          <a:p>
            <a:r>
              <a:rPr lang="nb-NO" dirty="0"/>
              <a:t>Dato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30932" y="6633484"/>
            <a:ext cx="188053" cy="10822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703" b="1">
                <a:solidFill>
                  <a:schemeClr val="lt1"/>
                </a:solidFill>
              </a:defRPr>
            </a:lvl1pPr>
          </a:lstStyle>
          <a:p>
            <a:fld id="{D5DAC896-3290-4F14-BAAE-6BA5F8CCFA8A}" type="slidenum">
              <a:rPr lang="nb-NO" smtClean="0"/>
              <a:pPr/>
              <a:t>‹#›</a:t>
            </a:fld>
            <a:endParaRPr lang="nb-NO" dirty="0"/>
          </a:p>
        </p:txBody>
      </p:sp>
      <p:cxnSp>
        <p:nvCxnSpPr>
          <p:cNvPr id="16" name="Rett linje 15">
            <a:extLst>
              <a:ext uri="{FF2B5EF4-FFF2-40B4-BE49-F238E27FC236}">
                <a16:creationId xmlns:a16="http://schemas.microsoft.com/office/drawing/2014/main" id="{890384CB-A8C3-4348-83D4-F68D61547F7F}"/>
              </a:ext>
            </a:extLst>
          </p:cNvPr>
          <p:cNvCxnSpPr/>
          <p:nvPr userDrawn="1"/>
        </p:nvCxnSpPr>
        <p:spPr>
          <a:xfrm>
            <a:off x="410291" y="6644201"/>
            <a:ext cx="0" cy="108220"/>
          </a:xfrm>
          <a:prstGeom prst="line">
            <a:avLst/>
          </a:prstGeom>
          <a:ln w="12700">
            <a:solidFill>
              <a:schemeClr val="l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llipse 11">
            <a:extLst>
              <a:ext uri="{FF2B5EF4-FFF2-40B4-BE49-F238E27FC236}">
                <a16:creationId xmlns:a16="http://schemas.microsoft.com/office/drawing/2014/main" id="{1D023662-547A-4641-A306-275656F81D68}"/>
              </a:ext>
            </a:extLst>
          </p:cNvPr>
          <p:cNvSpPr/>
          <p:nvPr userDrawn="1"/>
        </p:nvSpPr>
        <p:spPr>
          <a:xfrm>
            <a:off x="10758710" y="344255"/>
            <a:ext cx="1012654" cy="1012665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266"/>
          </a:p>
        </p:txBody>
      </p:sp>
      <p:pic>
        <p:nvPicPr>
          <p:cNvPr id="13" name="Bilde 12">
            <a:extLst>
              <a:ext uri="{FF2B5EF4-FFF2-40B4-BE49-F238E27FC236}">
                <a16:creationId xmlns:a16="http://schemas.microsoft.com/office/drawing/2014/main" id="{987FDECA-DF10-4D2A-AC29-BB1416B79B51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8710" y="344255"/>
            <a:ext cx="1012654" cy="1012665"/>
          </a:xfrm>
          <a:prstGeom prst="rect">
            <a:avLst/>
          </a:prstGeom>
        </p:spPr>
      </p:pic>
      <p:pic>
        <p:nvPicPr>
          <p:cNvPr id="14" name="Bilde 13">
            <a:extLst>
              <a:ext uri="{FF2B5EF4-FFF2-40B4-BE49-F238E27FC236}">
                <a16:creationId xmlns:a16="http://schemas.microsoft.com/office/drawing/2014/main" id="{40D4CD59-31FC-42F6-A44C-2DFF7DA4674E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9819" y="6592209"/>
            <a:ext cx="2692181" cy="265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3989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0" r:id="rId5"/>
    <p:sldLayoutId id="2147483781" r:id="rId6"/>
    <p:sldLayoutId id="2147483782" r:id="rId7"/>
    <p:sldLayoutId id="2147483783" r:id="rId8"/>
    <p:sldLayoutId id="2147483784" r:id="rId9"/>
    <p:sldLayoutId id="2147483785" r:id="rId10"/>
    <p:sldLayoutId id="2147483786" r:id="rId11"/>
    <p:sldLayoutId id="2147483787" r:id="rId12"/>
    <p:sldLayoutId id="2147483788" r:id="rId13"/>
    <p:sldLayoutId id="2147483789" r:id="rId14"/>
    <p:sldLayoutId id="2147483790" r:id="rId15"/>
  </p:sldLayoutIdLst>
  <p:hf hdr="0" ftr="0"/>
  <p:txStyles>
    <p:titleStyle>
      <a:lvl1pPr algn="l" defTabSz="914332" rtl="0" eaLnBrk="1" latinLnBrk="0" hangingPunct="1">
        <a:lnSpc>
          <a:spcPct val="100000"/>
        </a:lnSpc>
        <a:spcBef>
          <a:spcPct val="0"/>
        </a:spcBef>
        <a:buNone/>
        <a:defRPr sz="3797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3" indent="-228583" algn="l" defTabSz="914332" rtl="0" eaLnBrk="1" latinLnBrk="0" hangingPunct="1">
        <a:lnSpc>
          <a:spcPct val="100000"/>
        </a:lnSpc>
        <a:spcBef>
          <a:spcPts val="0"/>
        </a:spcBef>
        <a:buClr>
          <a:schemeClr val="tx2"/>
        </a:buClr>
        <a:buFont typeface="Arial" panose="020B0604020202020204" pitchFamily="34" charset="0"/>
        <a:buChar char="•"/>
        <a:defRPr sz="2602" kern="1200">
          <a:solidFill>
            <a:schemeClr val="tx1"/>
          </a:solidFill>
          <a:latin typeface="+mn-lt"/>
          <a:ea typeface="+mn-ea"/>
          <a:cs typeface="+mn-cs"/>
        </a:defRPr>
      </a:lvl1pPr>
      <a:lvl2pPr marL="685749" indent="-228583" algn="l" defTabSz="914332" rtl="0" eaLnBrk="1" latinLnBrk="0" hangingPunct="1">
        <a:lnSpc>
          <a:spcPct val="100000"/>
        </a:lnSpc>
        <a:spcBef>
          <a:spcPts val="0"/>
        </a:spcBef>
        <a:buClr>
          <a:schemeClr val="tx2"/>
        </a:buClr>
        <a:buFont typeface="Arial" panose="020B0604020202020204" pitchFamily="34" charset="0"/>
        <a:buChar char="•"/>
        <a:defRPr sz="2602" kern="1200">
          <a:solidFill>
            <a:schemeClr val="tx1"/>
          </a:solidFill>
          <a:latin typeface="+mn-lt"/>
          <a:ea typeface="+mn-ea"/>
          <a:cs typeface="+mn-cs"/>
        </a:defRPr>
      </a:lvl2pPr>
      <a:lvl3pPr marL="1142915" indent="-228583" algn="l" defTabSz="914332" rtl="0" eaLnBrk="1" latinLnBrk="0" hangingPunct="1">
        <a:lnSpc>
          <a:spcPct val="100000"/>
        </a:lnSpc>
        <a:spcBef>
          <a:spcPts val="0"/>
        </a:spcBef>
        <a:buClr>
          <a:schemeClr val="tx2"/>
        </a:buClr>
        <a:buFont typeface="Arial" panose="020B0604020202020204" pitchFamily="34" charset="0"/>
        <a:buChar char="•"/>
        <a:defRPr sz="2602" kern="1200">
          <a:solidFill>
            <a:schemeClr val="tx1"/>
          </a:solidFill>
          <a:latin typeface="+mn-lt"/>
          <a:ea typeface="+mn-ea"/>
          <a:cs typeface="+mn-cs"/>
        </a:defRPr>
      </a:lvl3pPr>
      <a:lvl4pPr marL="1600080" indent="-228583" algn="l" defTabSz="914332" rtl="0" eaLnBrk="1" latinLnBrk="0" hangingPunct="1">
        <a:lnSpc>
          <a:spcPct val="100000"/>
        </a:lnSpc>
        <a:spcBef>
          <a:spcPts val="0"/>
        </a:spcBef>
        <a:buClr>
          <a:schemeClr val="tx2"/>
        </a:buClr>
        <a:buFont typeface="Arial" panose="020B0604020202020204" pitchFamily="34" charset="0"/>
        <a:buChar char="•"/>
        <a:defRPr sz="2602" kern="1200">
          <a:solidFill>
            <a:schemeClr val="tx1"/>
          </a:solidFill>
          <a:latin typeface="+mn-lt"/>
          <a:ea typeface="+mn-ea"/>
          <a:cs typeface="+mn-cs"/>
        </a:defRPr>
      </a:lvl4pPr>
      <a:lvl5pPr marL="2057247" indent="-228583" algn="l" defTabSz="914332" rtl="0" eaLnBrk="1" latinLnBrk="0" hangingPunct="1">
        <a:lnSpc>
          <a:spcPct val="100000"/>
        </a:lnSpc>
        <a:spcBef>
          <a:spcPts val="0"/>
        </a:spcBef>
        <a:buClr>
          <a:schemeClr val="tx2"/>
        </a:buClr>
        <a:buFont typeface="Arial" panose="020B0604020202020204" pitchFamily="34" charset="0"/>
        <a:buChar char="•"/>
        <a:defRPr sz="2602" kern="1200">
          <a:solidFill>
            <a:schemeClr val="tx1"/>
          </a:solidFill>
          <a:latin typeface="+mn-lt"/>
          <a:ea typeface="+mn-ea"/>
          <a:cs typeface="+mn-cs"/>
        </a:defRPr>
      </a:lvl5pPr>
      <a:lvl6pPr marL="2514413" indent="-228583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3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3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3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5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1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50864" y="476250"/>
            <a:ext cx="11090274" cy="7205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50864" y="1484317"/>
            <a:ext cx="11090274" cy="460851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9269" y="6345238"/>
            <a:ext cx="1440382" cy="252412"/>
          </a:xfrm>
          <a:prstGeom prst="rect">
            <a:avLst/>
          </a:prstGeom>
        </p:spPr>
        <p:txBody>
          <a:bodyPr vert="horz" lIns="72000" tIns="0" rIns="72000" bIns="0" rtlCol="0" anchor="ctr" anchorCtr="0">
            <a:noAutofit/>
          </a:bodyPr>
          <a:lstStyle>
            <a:lvl1pPr algn="l">
              <a:defRPr sz="900" b="0">
                <a:solidFill>
                  <a:schemeClr val="tx1"/>
                </a:solidFill>
              </a:defRPr>
            </a:lvl1pPr>
          </a:lstStyle>
          <a:p>
            <a:fld id="{8BF2FB3D-F1E0-49B1-9E7B-68A22CAF1D5E}" type="datetime1">
              <a:rPr lang="en-US" smtClean="0"/>
              <a:pPr/>
              <a:t>5/29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79652" y="6345238"/>
            <a:ext cx="7488238" cy="252412"/>
          </a:xfrm>
          <a:prstGeom prst="rect">
            <a:avLst/>
          </a:prstGeom>
        </p:spPr>
        <p:txBody>
          <a:bodyPr vert="horz" lIns="72000" tIns="0" rIns="72000" bIns="0" rtlCol="0" anchor="ctr" anchorCtr="0">
            <a:noAutofit/>
          </a:bodyPr>
          <a:lstStyle>
            <a:lvl1pPr algn="l">
              <a:defRPr sz="9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50864" y="6345240"/>
            <a:ext cx="288407" cy="252089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>
            <a:lvl1pPr algn="l">
              <a:defRPr sz="900" b="0">
                <a:solidFill>
                  <a:schemeClr val="tx1"/>
                </a:solidFill>
              </a:defRPr>
            </a:lvl1pPr>
          </a:lstStyle>
          <a:p>
            <a:fld id="{F90E5A77-D385-4CDE-8FE8-D3E3CBE93E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(c)" hidden="1"/>
          <p:cNvSpPr txBox="1"/>
          <p:nvPr/>
        </p:nvSpPr>
        <p:spPr>
          <a:xfrm>
            <a:off x="11991328" y="6885480"/>
            <a:ext cx="193963" cy="307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fi-FI" sz="200" dirty="0">
                <a:solidFill>
                  <a:schemeClr val="bg1"/>
                </a:solidFill>
              </a:rPr>
              <a:t>©</a:t>
            </a:r>
            <a:r>
              <a:rPr lang="fi-FI" sz="200" dirty="0" err="1">
                <a:solidFill>
                  <a:schemeClr val="bg1"/>
                </a:solidFill>
              </a:rPr>
              <a:t>grow</a:t>
            </a:r>
            <a:r>
              <a:rPr lang="fi-FI" sz="200">
                <a:solidFill>
                  <a:schemeClr val="bg1"/>
                </a:solidFill>
              </a:rPr>
              <a:t>. for</a:t>
            </a:r>
            <a:r>
              <a:rPr lang="fi-FI" sz="200" baseline="0">
                <a:solidFill>
                  <a:schemeClr val="bg1"/>
                </a:solidFill>
              </a:rPr>
              <a:t> fortum</a:t>
            </a:r>
            <a:endParaRPr lang="en-GB" sz="200" err="1">
              <a:solidFill>
                <a:schemeClr val="bg1"/>
              </a:solidFill>
            </a:endParaRPr>
          </a:p>
        </p:txBody>
      </p:sp>
      <p:sp>
        <p:nvSpPr>
          <p:cNvPr id="15" name="Freeform 7"/>
          <p:cNvSpPr>
            <a:spLocks noChangeAspect="1" noEditPoints="1"/>
          </p:cNvSpPr>
          <p:nvPr userDrawn="1"/>
        </p:nvSpPr>
        <p:spPr bwMode="auto">
          <a:xfrm>
            <a:off x="10419384" y="6306914"/>
            <a:ext cx="1218166" cy="286381"/>
          </a:xfrm>
          <a:custGeom>
            <a:avLst/>
            <a:gdLst>
              <a:gd name="T0" fmla="*/ 3454 w 8720"/>
              <a:gd name="T1" fmla="*/ 1049 h 2050"/>
              <a:gd name="T2" fmla="*/ 3166 w 8720"/>
              <a:gd name="T3" fmla="*/ 1051 h 2050"/>
              <a:gd name="T4" fmla="*/ 3068 w 8720"/>
              <a:gd name="T5" fmla="*/ 1409 h 2050"/>
              <a:gd name="T6" fmla="*/ 3261 w 8720"/>
              <a:gd name="T7" fmla="*/ 1675 h 2050"/>
              <a:gd name="T8" fmla="*/ 3519 w 8720"/>
              <a:gd name="T9" fmla="*/ 1539 h 2050"/>
              <a:gd name="T10" fmla="*/ 3863 w 8720"/>
              <a:gd name="T11" fmla="*/ 1565 h 2050"/>
              <a:gd name="T12" fmla="*/ 3603 w 8720"/>
              <a:gd name="T13" fmla="*/ 1898 h 2050"/>
              <a:gd name="T14" fmla="*/ 3188 w 8720"/>
              <a:gd name="T15" fmla="*/ 1959 h 2050"/>
              <a:gd name="T16" fmla="*/ 2786 w 8720"/>
              <a:gd name="T17" fmla="*/ 1655 h 2050"/>
              <a:gd name="T18" fmla="*/ 2732 w 8720"/>
              <a:gd name="T19" fmla="*/ 1207 h 2050"/>
              <a:gd name="T20" fmla="*/ 3018 w 8720"/>
              <a:gd name="T21" fmla="*/ 786 h 2050"/>
              <a:gd name="T22" fmla="*/ 3503 w 8720"/>
              <a:gd name="T23" fmla="*/ 740 h 2050"/>
              <a:gd name="T24" fmla="*/ 3857 w 8720"/>
              <a:gd name="T25" fmla="*/ 1088 h 2050"/>
              <a:gd name="T26" fmla="*/ 4586 w 8720"/>
              <a:gd name="T27" fmla="*/ 1045 h 2050"/>
              <a:gd name="T28" fmla="*/ 4361 w 8720"/>
              <a:gd name="T29" fmla="*/ 1327 h 2050"/>
              <a:gd name="T30" fmla="*/ 4391 w 8720"/>
              <a:gd name="T31" fmla="*/ 895 h 2050"/>
              <a:gd name="T32" fmla="*/ 4703 w 8720"/>
              <a:gd name="T33" fmla="*/ 728 h 2050"/>
              <a:gd name="T34" fmla="*/ 5384 w 8720"/>
              <a:gd name="T35" fmla="*/ 1679 h 2050"/>
              <a:gd name="T36" fmla="*/ 5258 w 8720"/>
              <a:gd name="T37" fmla="*/ 1026 h 2050"/>
              <a:gd name="T38" fmla="*/ 4962 w 8720"/>
              <a:gd name="T39" fmla="*/ 1758 h 2050"/>
              <a:gd name="T40" fmla="*/ 5374 w 8720"/>
              <a:gd name="T41" fmla="*/ 1960 h 2050"/>
              <a:gd name="T42" fmla="*/ 6441 w 8720"/>
              <a:gd name="T43" fmla="*/ 1538 h 2050"/>
              <a:gd name="T44" fmla="*/ 6231 w 8720"/>
              <a:gd name="T45" fmla="*/ 1676 h 2050"/>
              <a:gd name="T46" fmla="*/ 6056 w 8720"/>
              <a:gd name="T47" fmla="*/ 1487 h 2050"/>
              <a:gd name="T48" fmla="*/ 5746 w 8720"/>
              <a:gd name="T49" fmla="*/ 1671 h 2050"/>
              <a:gd name="T50" fmla="*/ 5949 w 8720"/>
              <a:gd name="T51" fmla="*/ 1899 h 2050"/>
              <a:gd name="T52" fmla="*/ 6505 w 8720"/>
              <a:gd name="T53" fmla="*/ 1921 h 2050"/>
              <a:gd name="T54" fmla="*/ 6769 w 8720"/>
              <a:gd name="T55" fmla="*/ 1628 h 2050"/>
              <a:gd name="T56" fmla="*/ 8698 w 8720"/>
              <a:gd name="T57" fmla="*/ 985 h 2050"/>
              <a:gd name="T58" fmla="*/ 8484 w 8720"/>
              <a:gd name="T59" fmla="*/ 747 h 2050"/>
              <a:gd name="T60" fmla="*/ 8083 w 8720"/>
              <a:gd name="T61" fmla="*/ 806 h 2050"/>
              <a:gd name="T62" fmla="*/ 7885 w 8720"/>
              <a:gd name="T63" fmla="*/ 840 h 2050"/>
              <a:gd name="T64" fmla="*/ 7630 w 8720"/>
              <a:gd name="T65" fmla="*/ 721 h 2050"/>
              <a:gd name="T66" fmla="*/ 7324 w 8720"/>
              <a:gd name="T67" fmla="*/ 871 h 2050"/>
              <a:gd name="T68" fmla="*/ 7270 w 8720"/>
              <a:gd name="T69" fmla="*/ 1283 h 2050"/>
              <a:gd name="T70" fmla="*/ 7447 w 8720"/>
              <a:gd name="T71" fmla="*/ 1034 h 2050"/>
              <a:gd name="T72" fmla="*/ 7645 w 8720"/>
              <a:gd name="T73" fmla="*/ 1211 h 2050"/>
              <a:gd name="T74" fmla="*/ 8034 w 8720"/>
              <a:gd name="T75" fmla="*/ 1138 h 2050"/>
              <a:gd name="T76" fmla="*/ 8289 w 8720"/>
              <a:gd name="T77" fmla="*/ 1046 h 2050"/>
              <a:gd name="T78" fmla="*/ 8377 w 8720"/>
              <a:gd name="T79" fmla="*/ 1938 h 2050"/>
              <a:gd name="T80" fmla="*/ 2458 w 8720"/>
              <a:gd name="T81" fmla="*/ 483 h 2050"/>
              <a:gd name="T82" fmla="*/ 2107 w 8720"/>
              <a:gd name="T83" fmla="*/ 1483 h 2050"/>
              <a:gd name="T84" fmla="*/ 2152 w 8720"/>
              <a:gd name="T85" fmla="*/ 299 h 2050"/>
              <a:gd name="T86" fmla="*/ 2419 w 8720"/>
              <a:gd name="T87" fmla="*/ 83 h 2050"/>
              <a:gd name="T88" fmla="*/ 2622 w 8720"/>
              <a:gd name="T89" fmla="*/ 369 h 2050"/>
              <a:gd name="T90" fmla="*/ 1130 w 8720"/>
              <a:gd name="T91" fmla="*/ 2050 h 2050"/>
              <a:gd name="T92" fmla="*/ 570 w 8720"/>
              <a:gd name="T93" fmla="*/ 1915 h 2050"/>
              <a:gd name="T94" fmla="*/ 120 w 8720"/>
              <a:gd name="T95" fmla="*/ 1452 h 2050"/>
              <a:gd name="T96" fmla="*/ 8 w 8720"/>
              <a:gd name="T97" fmla="*/ 822 h 2050"/>
              <a:gd name="T98" fmla="*/ 222 w 8720"/>
              <a:gd name="T99" fmla="*/ 289 h 2050"/>
              <a:gd name="T100" fmla="*/ 690 w 8720"/>
              <a:gd name="T101" fmla="*/ 389 h 2050"/>
              <a:gd name="T102" fmla="*/ 424 w 8720"/>
              <a:gd name="T103" fmla="*/ 782 h 2050"/>
              <a:gd name="T104" fmla="*/ 460 w 8720"/>
              <a:gd name="T105" fmla="*/ 1242 h 2050"/>
              <a:gd name="T106" fmla="*/ 783 w 8720"/>
              <a:gd name="T107" fmla="*/ 1573 h 2050"/>
              <a:gd name="T108" fmla="*/ 1246 w 8720"/>
              <a:gd name="T109" fmla="*/ 1632 h 2050"/>
              <a:gd name="T110" fmla="*/ 745 w 8720"/>
              <a:gd name="T111" fmla="*/ 1453 h 2050"/>
              <a:gd name="T112" fmla="*/ 1347 w 8720"/>
              <a:gd name="T113" fmla="*/ 1509 h 2050"/>
              <a:gd name="T114" fmla="*/ 1693 w 8720"/>
              <a:gd name="T115" fmla="*/ 1099 h 2050"/>
              <a:gd name="T116" fmla="*/ 1523 w 8720"/>
              <a:gd name="T117" fmla="*/ 505 h 2050"/>
              <a:gd name="T118" fmla="*/ 1152 w 8720"/>
              <a:gd name="T119" fmla="*/ 342 h 2050"/>
              <a:gd name="T120" fmla="*/ 691 w 8720"/>
              <a:gd name="T121" fmla="*/ 497 h 2050"/>
              <a:gd name="T122" fmla="*/ 491 w 8720"/>
              <a:gd name="T123" fmla="*/ 1037 h 20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720" h="2050">
                <a:moveTo>
                  <a:pt x="3554" y="1338"/>
                </a:moveTo>
                <a:lnTo>
                  <a:pt x="3553" y="1299"/>
                </a:lnTo>
                <a:lnTo>
                  <a:pt x="3550" y="1263"/>
                </a:lnTo>
                <a:lnTo>
                  <a:pt x="3546" y="1228"/>
                </a:lnTo>
                <a:lnTo>
                  <a:pt x="3538" y="1196"/>
                </a:lnTo>
                <a:lnTo>
                  <a:pt x="3529" y="1165"/>
                </a:lnTo>
                <a:lnTo>
                  <a:pt x="3518" y="1137"/>
                </a:lnTo>
                <a:lnTo>
                  <a:pt x="3511" y="1124"/>
                </a:lnTo>
                <a:lnTo>
                  <a:pt x="3504" y="1112"/>
                </a:lnTo>
                <a:lnTo>
                  <a:pt x="3490" y="1088"/>
                </a:lnTo>
                <a:lnTo>
                  <a:pt x="3473" y="1068"/>
                </a:lnTo>
                <a:lnTo>
                  <a:pt x="3454" y="1049"/>
                </a:lnTo>
                <a:lnTo>
                  <a:pt x="3436" y="1034"/>
                </a:lnTo>
                <a:lnTo>
                  <a:pt x="3413" y="1022"/>
                </a:lnTo>
                <a:lnTo>
                  <a:pt x="3390" y="1012"/>
                </a:lnTo>
                <a:lnTo>
                  <a:pt x="3366" y="1004"/>
                </a:lnTo>
                <a:lnTo>
                  <a:pt x="3339" y="1000"/>
                </a:lnTo>
                <a:lnTo>
                  <a:pt x="3311" y="998"/>
                </a:lnTo>
                <a:lnTo>
                  <a:pt x="3283" y="1000"/>
                </a:lnTo>
                <a:lnTo>
                  <a:pt x="3257" y="1004"/>
                </a:lnTo>
                <a:lnTo>
                  <a:pt x="3232" y="1012"/>
                </a:lnTo>
                <a:lnTo>
                  <a:pt x="3209" y="1022"/>
                </a:lnTo>
                <a:lnTo>
                  <a:pt x="3187" y="1035"/>
                </a:lnTo>
                <a:lnTo>
                  <a:pt x="3166" y="1051"/>
                </a:lnTo>
                <a:lnTo>
                  <a:pt x="3148" y="1069"/>
                </a:lnTo>
                <a:lnTo>
                  <a:pt x="3130" y="1091"/>
                </a:lnTo>
                <a:lnTo>
                  <a:pt x="3116" y="1114"/>
                </a:lnTo>
                <a:lnTo>
                  <a:pt x="3102" y="1139"/>
                </a:lnTo>
                <a:lnTo>
                  <a:pt x="3090" y="1167"/>
                </a:lnTo>
                <a:lnTo>
                  <a:pt x="3081" y="1197"/>
                </a:lnTo>
                <a:lnTo>
                  <a:pt x="3073" y="1228"/>
                </a:lnTo>
                <a:lnTo>
                  <a:pt x="3068" y="1263"/>
                </a:lnTo>
                <a:lnTo>
                  <a:pt x="3065" y="1298"/>
                </a:lnTo>
                <a:lnTo>
                  <a:pt x="3063" y="1336"/>
                </a:lnTo>
                <a:lnTo>
                  <a:pt x="3065" y="1374"/>
                </a:lnTo>
                <a:lnTo>
                  <a:pt x="3068" y="1409"/>
                </a:lnTo>
                <a:lnTo>
                  <a:pt x="3073" y="1444"/>
                </a:lnTo>
                <a:lnTo>
                  <a:pt x="3081" y="1477"/>
                </a:lnTo>
                <a:lnTo>
                  <a:pt x="3091" y="1507"/>
                </a:lnTo>
                <a:lnTo>
                  <a:pt x="3102" y="1536"/>
                </a:lnTo>
                <a:lnTo>
                  <a:pt x="3117" y="1562"/>
                </a:lnTo>
                <a:lnTo>
                  <a:pt x="3132" y="1586"/>
                </a:lnTo>
                <a:lnTo>
                  <a:pt x="3149" y="1607"/>
                </a:lnTo>
                <a:lnTo>
                  <a:pt x="3169" y="1626"/>
                </a:lnTo>
                <a:lnTo>
                  <a:pt x="3189" y="1643"/>
                </a:lnTo>
                <a:lnTo>
                  <a:pt x="3211" y="1656"/>
                </a:lnTo>
                <a:lnTo>
                  <a:pt x="3236" y="1667"/>
                </a:lnTo>
                <a:lnTo>
                  <a:pt x="3261" y="1675"/>
                </a:lnTo>
                <a:lnTo>
                  <a:pt x="3288" y="1679"/>
                </a:lnTo>
                <a:lnTo>
                  <a:pt x="3317" y="1680"/>
                </a:lnTo>
                <a:lnTo>
                  <a:pt x="3343" y="1679"/>
                </a:lnTo>
                <a:lnTo>
                  <a:pt x="3369" y="1675"/>
                </a:lnTo>
                <a:lnTo>
                  <a:pt x="3393" y="1667"/>
                </a:lnTo>
                <a:lnTo>
                  <a:pt x="3417" y="1657"/>
                </a:lnTo>
                <a:lnTo>
                  <a:pt x="3438" y="1644"/>
                </a:lnTo>
                <a:lnTo>
                  <a:pt x="3458" y="1628"/>
                </a:lnTo>
                <a:lnTo>
                  <a:pt x="3476" y="1609"/>
                </a:lnTo>
                <a:lnTo>
                  <a:pt x="3491" y="1588"/>
                </a:lnTo>
                <a:lnTo>
                  <a:pt x="3506" y="1565"/>
                </a:lnTo>
                <a:lnTo>
                  <a:pt x="3519" y="1539"/>
                </a:lnTo>
                <a:lnTo>
                  <a:pt x="3529" y="1512"/>
                </a:lnTo>
                <a:lnTo>
                  <a:pt x="3538" y="1480"/>
                </a:lnTo>
                <a:lnTo>
                  <a:pt x="3546" y="1448"/>
                </a:lnTo>
                <a:lnTo>
                  <a:pt x="3550" y="1414"/>
                </a:lnTo>
                <a:lnTo>
                  <a:pt x="3553" y="1377"/>
                </a:lnTo>
                <a:lnTo>
                  <a:pt x="3554" y="1338"/>
                </a:lnTo>
                <a:close/>
                <a:moveTo>
                  <a:pt x="3897" y="1340"/>
                </a:moveTo>
                <a:lnTo>
                  <a:pt x="3893" y="1408"/>
                </a:lnTo>
                <a:lnTo>
                  <a:pt x="3885" y="1474"/>
                </a:lnTo>
                <a:lnTo>
                  <a:pt x="3880" y="1505"/>
                </a:lnTo>
                <a:lnTo>
                  <a:pt x="3872" y="1536"/>
                </a:lnTo>
                <a:lnTo>
                  <a:pt x="3863" y="1565"/>
                </a:lnTo>
                <a:lnTo>
                  <a:pt x="3853" y="1595"/>
                </a:lnTo>
                <a:lnTo>
                  <a:pt x="3843" y="1623"/>
                </a:lnTo>
                <a:lnTo>
                  <a:pt x="3831" y="1649"/>
                </a:lnTo>
                <a:lnTo>
                  <a:pt x="3803" y="1701"/>
                </a:lnTo>
                <a:lnTo>
                  <a:pt x="3771" y="1749"/>
                </a:lnTo>
                <a:lnTo>
                  <a:pt x="3753" y="1773"/>
                </a:lnTo>
                <a:lnTo>
                  <a:pt x="3734" y="1794"/>
                </a:lnTo>
                <a:lnTo>
                  <a:pt x="3716" y="1814"/>
                </a:lnTo>
                <a:lnTo>
                  <a:pt x="3694" y="1834"/>
                </a:lnTo>
                <a:lnTo>
                  <a:pt x="3650" y="1868"/>
                </a:lnTo>
                <a:lnTo>
                  <a:pt x="3627" y="1884"/>
                </a:lnTo>
                <a:lnTo>
                  <a:pt x="3603" y="1898"/>
                </a:lnTo>
                <a:lnTo>
                  <a:pt x="3552" y="1924"/>
                </a:lnTo>
                <a:lnTo>
                  <a:pt x="3526" y="1935"/>
                </a:lnTo>
                <a:lnTo>
                  <a:pt x="3498" y="1944"/>
                </a:lnTo>
                <a:lnTo>
                  <a:pt x="3470" y="1951"/>
                </a:lnTo>
                <a:lnTo>
                  <a:pt x="3441" y="1958"/>
                </a:lnTo>
                <a:lnTo>
                  <a:pt x="3411" y="1964"/>
                </a:lnTo>
                <a:lnTo>
                  <a:pt x="3381" y="1967"/>
                </a:lnTo>
                <a:lnTo>
                  <a:pt x="3319" y="1970"/>
                </a:lnTo>
                <a:lnTo>
                  <a:pt x="3285" y="1969"/>
                </a:lnTo>
                <a:lnTo>
                  <a:pt x="3252" y="1967"/>
                </a:lnTo>
                <a:lnTo>
                  <a:pt x="3220" y="1964"/>
                </a:lnTo>
                <a:lnTo>
                  <a:pt x="3188" y="1959"/>
                </a:lnTo>
                <a:lnTo>
                  <a:pt x="3158" y="1953"/>
                </a:lnTo>
                <a:lnTo>
                  <a:pt x="3128" y="1945"/>
                </a:lnTo>
                <a:lnTo>
                  <a:pt x="3071" y="1926"/>
                </a:lnTo>
                <a:lnTo>
                  <a:pt x="3018" y="1901"/>
                </a:lnTo>
                <a:lnTo>
                  <a:pt x="2993" y="1887"/>
                </a:lnTo>
                <a:lnTo>
                  <a:pt x="2969" y="1871"/>
                </a:lnTo>
                <a:lnTo>
                  <a:pt x="2924" y="1837"/>
                </a:lnTo>
                <a:lnTo>
                  <a:pt x="2882" y="1798"/>
                </a:lnTo>
                <a:lnTo>
                  <a:pt x="2864" y="1777"/>
                </a:lnTo>
                <a:lnTo>
                  <a:pt x="2846" y="1755"/>
                </a:lnTo>
                <a:lnTo>
                  <a:pt x="2814" y="1707"/>
                </a:lnTo>
                <a:lnTo>
                  <a:pt x="2786" y="1655"/>
                </a:lnTo>
                <a:lnTo>
                  <a:pt x="2775" y="1627"/>
                </a:lnTo>
                <a:lnTo>
                  <a:pt x="2764" y="1598"/>
                </a:lnTo>
                <a:lnTo>
                  <a:pt x="2754" y="1569"/>
                </a:lnTo>
                <a:lnTo>
                  <a:pt x="2746" y="1538"/>
                </a:lnTo>
                <a:lnTo>
                  <a:pt x="2738" y="1507"/>
                </a:lnTo>
                <a:lnTo>
                  <a:pt x="2732" y="1474"/>
                </a:lnTo>
                <a:lnTo>
                  <a:pt x="2728" y="1440"/>
                </a:lnTo>
                <a:lnTo>
                  <a:pt x="2725" y="1407"/>
                </a:lnTo>
                <a:lnTo>
                  <a:pt x="2722" y="1372"/>
                </a:lnTo>
                <a:lnTo>
                  <a:pt x="2721" y="1336"/>
                </a:lnTo>
                <a:lnTo>
                  <a:pt x="2725" y="1271"/>
                </a:lnTo>
                <a:lnTo>
                  <a:pt x="2732" y="1207"/>
                </a:lnTo>
                <a:lnTo>
                  <a:pt x="2738" y="1177"/>
                </a:lnTo>
                <a:lnTo>
                  <a:pt x="2746" y="1147"/>
                </a:lnTo>
                <a:lnTo>
                  <a:pt x="2764" y="1089"/>
                </a:lnTo>
                <a:lnTo>
                  <a:pt x="2775" y="1062"/>
                </a:lnTo>
                <a:lnTo>
                  <a:pt x="2787" y="1035"/>
                </a:lnTo>
                <a:lnTo>
                  <a:pt x="2815" y="983"/>
                </a:lnTo>
                <a:lnTo>
                  <a:pt x="2847" y="936"/>
                </a:lnTo>
                <a:lnTo>
                  <a:pt x="2865" y="913"/>
                </a:lnTo>
                <a:lnTo>
                  <a:pt x="2884" y="892"/>
                </a:lnTo>
                <a:lnTo>
                  <a:pt x="2925" y="852"/>
                </a:lnTo>
                <a:lnTo>
                  <a:pt x="2969" y="817"/>
                </a:lnTo>
                <a:lnTo>
                  <a:pt x="3018" y="786"/>
                </a:lnTo>
                <a:lnTo>
                  <a:pt x="3070" y="761"/>
                </a:lnTo>
                <a:lnTo>
                  <a:pt x="3098" y="750"/>
                </a:lnTo>
                <a:lnTo>
                  <a:pt x="3126" y="741"/>
                </a:lnTo>
                <a:lnTo>
                  <a:pt x="3155" y="732"/>
                </a:lnTo>
                <a:lnTo>
                  <a:pt x="3185" y="725"/>
                </a:lnTo>
                <a:lnTo>
                  <a:pt x="3216" y="721"/>
                </a:lnTo>
                <a:lnTo>
                  <a:pt x="3247" y="716"/>
                </a:lnTo>
                <a:lnTo>
                  <a:pt x="3311" y="713"/>
                </a:lnTo>
                <a:lnTo>
                  <a:pt x="3379" y="716"/>
                </a:lnTo>
                <a:lnTo>
                  <a:pt x="3411" y="720"/>
                </a:lnTo>
                <a:lnTo>
                  <a:pt x="3443" y="725"/>
                </a:lnTo>
                <a:lnTo>
                  <a:pt x="3503" y="740"/>
                </a:lnTo>
                <a:lnTo>
                  <a:pt x="3559" y="760"/>
                </a:lnTo>
                <a:lnTo>
                  <a:pt x="3586" y="772"/>
                </a:lnTo>
                <a:lnTo>
                  <a:pt x="3611" y="785"/>
                </a:lnTo>
                <a:lnTo>
                  <a:pt x="3636" y="800"/>
                </a:lnTo>
                <a:lnTo>
                  <a:pt x="3660" y="815"/>
                </a:lnTo>
                <a:lnTo>
                  <a:pt x="3703" y="851"/>
                </a:lnTo>
                <a:lnTo>
                  <a:pt x="3723" y="870"/>
                </a:lnTo>
                <a:lnTo>
                  <a:pt x="3743" y="890"/>
                </a:lnTo>
                <a:lnTo>
                  <a:pt x="3778" y="934"/>
                </a:lnTo>
                <a:lnTo>
                  <a:pt x="3809" y="982"/>
                </a:lnTo>
                <a:lnTo>
                  <a:pt x="3835" y="1033"/>
                </a:lnTo>
                <a:lnTo>
                  <a:pt x="3857" y="1088"/>
                </a:lnTo>
                <a:lnTo>
                  <a:pt x="3867" y="1117"/>
                </a:lnTo>
                <a:lnTo>
                  <a:pt x="3874" y="1147"/>
                </a:lnTo>
                <a:lnTo>
                  <a:pt x="3887" y="1208"/>
                </a:lnTo>
                <a:lnTo>
                  <a:pt x="3894" y="1273"/>
                </a:lnTo>
                <a:lnTo>
                  <a:pt x="3897" y="1340"/>
                </a:lnTo>
                <a:close/>
                <a:moveTo>
                  <a:pt x="4810" y="1073"/>
                </a:moveTo>
                <a:lnTo>
                  <a:pt x="4769" y="1056"/>
                </a:lnTo>
                <a:lnTo>
                  <a:pt x="4732" y="1045"/>
                </a:lnTo>
                <a:lnTo>
                  <a:pt x="4694" y="1039"/>
                </a:lnTo>
                <a:lnTo>
                  <a:pt x="4653" y="1038"/>
                </a:lnTo>
                <a:lnTo>
                  <a:pt x="4619" y="1039"/>
                </a:lnTo>
                <a:lnTo>
                  <a:pt x="4586" y="1045"/>
                </a:lnTo>
                <a:lnTo>
                  <a:pt x="4555" y="1053"/>
                </a:lnTo>
                <a:lnTo>
                  <a:pt x="4526" y="1064"/>
                </a:lnTo>
                <a:lnTo>
                  <a:pt x="4501" y="1078"/>
                </a:lnTo>
                <a:lnTo>
                  <a:pt x="4476" y="1095"/>
                </a:lnTo>
                <a:lnTo>
                  <a:pt x="4453" y="1115"/>
                </a:lnTo>
                <a:lnTo>
                  <a:pt x="4433" y="1137"/>
                </a:lnTo>
                <a:lnTo>
                  <a:pt x="4415" y="1163"/>
                </a:lnTo>
                <a:lnTo>
                  <a:pt x="4400" y="1191"/>
                </a:lnTo>
                <a:lnTo>
                  <a:pt x="4386" y="1222"/>
                </a:lnTo>
                <a:lnTo>
                  <a:pt x="4375" y="1254"/>
                </a:lnTo>
                <a:lnTo>
                  <a:pt x="4366" y="1289"/>
                </a:lnTo>
                <a:lnTo>
                  <a:pt x="4361" y="1327"/>
                </a:lnTo>
                <a:lnTo>
                  <a:pt x="4356" y="1367"/>
                </a:lnTo>
                <a:lnTo>
                  <a:pt x="4355" y="1408"/>
                </a:lnTo>
                <a:lnTo>
                  <a:pt x="4355" y="1938"/>
                </a:lnTo>
                <a:lnTo>
                  <a:pt x="4017" y="1938"/>
                </a:lnTo>
                <a:lnTo>
                  <a:pt x="4017" y="1342"/>
                </a:lnTo>
                <a:lnTo>
                  <a:pt x="4017" y="746"/>
                </a:lnTo>
                <a:lnTo>
                  <a:pt x="4343" y="746"/>
                </a:lnTo>
                <a:lnTo>
                  <a:pt x="4343" y="1017"/>
                </a:lnTo>
                <a:lnTo>
                  <a:pt x="4352" y="984"/>
                </a:lnTo>
                <a:lnTo>
                  <a:pt x="4363" y="953"/>
                </a:lnTo>
                <a:lnTo>
                  <a:pt x="4375" y="923"/>
                </a:lnTo>
                <a:lnTo>
                  <a:pt x="4391" y="895"/>
                </a:lnTo>
                <a:lnTo>
                  <a:pt x="4408" y="870"/>
                </a:lnTo>
                <a:lnTo>
                  <a:pt x="4425" y="846"/>
                </a:lnTo>
                <a:lnTo>
                  <a:pt x="4446" y="824"/>
                </a:lnTo>
                <a:lnTo>
                  <a:pt x="4468" y="805"/>
                </a:lnTo>
                <a:lnTo>
                  <a:pt x="4492" y="787"/>
                </a:lnTo>
                <a:lnTo>
                  <a:pt x="4517" y="772"/>
                </a:lnTo>
                <a:lnTo>
                  <a:pt x="4544" y="758"/>
                </a:lnTo>
                <a:lnTo>
                  <a:pt x="4573" y="748"/>
                </a:lnTo>
                <a:lnTo>
                  <a:pt x="4603" y="740"/>
                </a:lnTo>
                <a:lnTo>
                  <a:pt x="4635" y="734"/>
                </a:lnTo>
                <a:lnTo>
                  <a:pt x="4669" y="730"/>
                </a:lnTo>
                <a:lnTo>
                  <a:pt x="4703" y="728"/>
                </a:lnTo>
                <a:lnTo>
                  <a:pt x="4753" y="732"/>
                </a:lnTo>
                <a:lnTo>
                  <a:pt x="4810" y="741"/>
                </a:lnTo>
                <a:lnTo>
                  <a:pt x="4810" y="1073"/>
                </a:lnTo>
                <a:close/>
                <a:moveTo>
                  <a:pt x="5598" y="1938"/>
                </a:moveTo>
                <a:lnTo>
                  <a:pt x="5598" y="1670"/>
                </a:lnTo>
                <a:lnTo>
                  <a:pt x="5561" y="1678"/>
                </a:lnTo>
                <a:lnTo>
                  <a:pt x="5526" y="1683"/>
                </a:lnTo>
                <a:lnTo>
                  <a:pt x="5494" y="1685"/>
                </a:lnTo>
                <a:lnTo>
                  <a:pt x="5458" y="1686"/>
                </a:lnTo>
                <a:lnTo>
                  <a:pt x="5432" y="1685"/>
                </a:lnTo>
                <a:lnTo>
                  <a:pt x="5406" y="1683"/>
                </a:lnTo>
                <a:lnTo>
                  <a:pt x="5384" y="1679"/>
                </a:lnTo>
                <a:lnTo>
                  <a:pt x="5364" y="1674"/>
                </a:lnTo>
                <a:lnTo>
                  <a:pt x="5345" y="1667"/>
                </a:lnTo>
                <a:lnTo>
                  <a:pt x="5328" y="1658"/>
                </a:lnTo>
                <a:lnTo>
                  <a:pt x="5314" y="1648"/>
                </a:lnTo>
                <a:lnTo>
                  <a:pt x="5302" y="1636"/>
                </a:lnTo>
                <a:lnTo>
                  <a:pt x="5292" y="1622"/>
                </a:lnTo>
                <a:lnTo>
                  <a:pt x="5282" y="1605"/>
                </a:lnTo>
                <a:lnTo>
                  <a:pt x="5275" y="1587"/>
                </a:lnTo>
                <a:lnTo>
                  <a:pt x="5268" y="1566"/>
                </a:lnTo>
                <a:lnTo>
                  <a:pt x="5262" y="1517"/>
                </a:lnTo>
                <a:lnTo>
                  <a:pt x="5258" y="1459"/>
                </a:lnTo>
                <a:lnTo>
                  <a:pt x="5258" y="1026"/>
                </a:lnTo>
                <a:lnTo>
                  <a:pt x="5583" y="1026"/>
                </a:lnTo>
                <a:lnTo>
                  <a:pt x="5583" y="755"/>
                </a:lnTo>
                <a:lnTo>
                  <a:pt x="5258" y="755"/>
                </a:lnTo>
                <a:lnTo>
                  <a:pt x="5258" y="365"/>
                </a:lnTo>
                <a:lnTo>
                  <a:pt x="4920" y="556"/>
                </a:lnTo>
                <a:lnTo>
                  <a:pt x="4920" y="1037"/>
                </a:lnTo>
                <a:lnTo>
                  <a:pt x="4920" y="1519"/>
                </a:lnTo>
                <a:lnTo>
                  <a:pt x="4921" y="1575"/>
                </a:lnTo>
                <a:lnTo>
                  <a:pt x="4926" y="1627"/>
                </a:lnTo>
                <a:lnTo>
                  <a:pt x="4935" y="1674"/>
                </a:lnTo>
                <a:lnTo>
                  <a:pt x="4946" y="1718"/>
                </a:lnTo>
                <a:lnTo>
                  <a:pt x="4962" y="1758"/>
                </a:lnTo>
                <a:lnTo>
                  <a:pt x="4981" y="1794"/>
                </a:lnTo>
                <a:lnTo>
                  <a:pt x="5003" y="1826"/>
                </a:lnTo>
                <a:lnTo>
                  <a:pt x="5030" y="1855"/>
                </a:lnTo>
                <a:lnTo>
                  <a:pt x="5044" y="1868"/>
                </a:lnTo>
                <a:lnTo>
                  <a:pt x="5060" y="1880"/>
                </a:lnTo>
                <a:lnTo>
                  <a:pt x="5093" y="1901"/>
                </a:lnTo>
                <a:lnTo>
                  <a:pt x="5130" y="1920"/>
                </a:lnTo>
                <a:lnTo>
                  <a:pt x="5171" y="1935"/>
                </a:lnTo>
                <a:lnTo>
                  <a:pt x="5216" y="1946"/>
                </a:lnTo>
                <a:lnTo>
                  <a:pt x="5265" y="1954"/>
                </a:lnTo>
                <a:lnTo>
                  <a:pt x="5317" y="1959"/>
                </a:lnTo>
                <a:lnTo>
                  <a:pt x="5374" y="1960"/>
                </a:lnTo>
                <a:lnTo>
                  <a:pt x="5431" y="1959"/>
                </a:lnTo>
                <a:lnTo>
                  <a:pt x="5484" y="1956"/>
                </a:lnTo>
                <a:lnTo>
                  <a:pt x="5538" y="1949"/>
                </a:lnTo>
                <a:lnTo>
                  <a:pt x="5598" y="1938"/>
                </a:lnTo>
                <a:close/>
                <a:moveTo>
                  <a:pt x="6796" y="1358"/>
                </a:moveTo>
                <a:lnTo>
                  <a:pt x="6796" y="746"/>
                </a:lnTo>
                <a:lnTo>
                  <a:pt x="6457" y="746"/>
                </a:lnTo>
                <a:lnTo>
                  <a:pt x="6457" y="1358"/>
                </a:lnTo>
                <a:lnTo>
                  <a:pt x="6455" y="1440"/>
                </a:lnTo>
                <a:lnTo>
                  <a:pt x="6451" y="1476"/>
                </a:lnTo>
                <a:lnTo>
                  <a:pt x="6447" y="1508"/>
                </a:lnTo>
                <a:lnTo>
                  <a:pt x="6441" y="1538"/>
                </a:lnTo>
                <a:lnTo>
                  <a:pt x="6435" y="1564"/>
                </a:lnTo>
                <a:lnTo>
                  <a:pt x="6426" y="1587"/>
                </a:lnTo>
                <a:lnTo>
                  <a:pt x="6415" y="1607"/>
                </a:lnTo>
                <a:lnTo>
                  <a:pt x="6402" y="1624"/>
                </a:lnTo>
                <a:lnTo>
                  <a:pt x="6388" y="1639"/>
                </a:lnTo>
                <a:lnTo>
                  <a:pt x="6373" y="1650"/>
                </a:lnTo>
                <a:lnTo>
                  <a:pt x="6355" y="1660"/>
                </a:lnTo>
                <a:lnTo>
                  <a:pt x="6334" y="1668"/>
                </a:lnTo>
                <a:lnTo>
                  <a:pt x="6311" y="1673"/>
                </a:lnTo>
                <a:lnTo>
                  <a:pt x="6287" y="1676"/>
                </a:lnTo>
                <a:lnTo>
                  <a:pt x="6259" y="1677"/>
                </a:lnTo>
                <a:lnTo>
                  <a:pt x="6231" y="1676"/>
                </a:lnTo>
                <a:lnTo>
                  <a:pt x="6206" y="1673"/>
                </a:lnTo>
                <a:lnTo>
                  <a:pt x="6181" y="1668"/>
                </a:lnTo>
                <a:lnTo>
                  <a:pt x="6160" y="1660"/>
                </a:lnTo>
                <a:lnTo>
                  <a:pt x="6141" y="1652"/>
                </a:lnTo>
                <a:lnTo>
                  <a:pt x="6124" y="1640"/>
                </a:lnTo>
                <a:lnTo>
                  <a:pt x="6109" y="1626"/>
                </a:lnTo>
                <a:lnTo>
                  <a:pt x="6096" y="1609"/>
                </a:lnTo>
                <a:lnTo>
                  <a:pt x="6085" y="1590"/>
                </a:lnTo>
                <a:lnTo>
                  <a:pt x="6075" y="1569"/>
                </a:lnTo>
                <a:lnTo>
                  <a:pt x="6067" y="1545"/>
                </a:lnTo>
                <a:lnTo>
                  <a:pt x="6060" y="1517"/>
                </a:lnTo>
                <a:lnTo>
                  <a:pt x="6056" y="1487"/>
                </a:lnTo>
                <a:lnTo>
                  <a:pt x="6053" y="1454"/>
                </a:lnTo>
                <a:lnTo>
                  <a:pt x="6050" y="1417"/>
                </a:lnTo>
                <a:lnTo>
                  <a:pt x="6049" y="1378"/>
                </a:lnTo>
                <a:lnTo>
                  <a:pt x="6049" y="746"/>
                </a:lnTo>
                <a:lnTo>
                  <a:pt x="5710" y="746"/>
                </a:lnTo>
                <a:lnTo>
                  <a:pt x="5710" y="1373"/>
                </a:lnTo>
                <a:lnTo>
                  <a:pt x="5713" y="1465"/>
                </a:lnTo>
                <a:lnTo>
                  <a:pt x="5715" y="1505"/>
                </a:lnTo>
                <a:lnTo>
                  <a:pt x="5718" y="1544"/>
                </a:lnTo>
                <a:lnTo>
                  <a:pt x="5729" y="1612"/>
                </a:lnTo>
                <a:lnTo>
                  <a:pt x="5737" y="1643"/>
                </a:lnTo>
                <a:lnTo>
                  <a:pt x="5746" y="1671"/>
                </a:lnTo>
                <a:lnTo>
                  <a:pt x="5756" y="1698"/>
                </a:lnTo>
                <a:lnTo>
                  <a:pt x="5768" y="1723"/>
                </a:lnTo>
                <a:lnTo>
                  <a:pt x="5780" y="1747"/>
                </a:lnTo>
                <a:lnTo>
                  <a:pt x="5796" y="1769"/>
                </a:lnTo>
                <a:lnTo>
                  <a:pt x="5812" y="1790"/>
                </a:lnTo>
                <a:lnTo>
                  <a:pt x="5830" y="1810"/>
                </a:lnTo>
                <a:lnTo>
                  <a:pt x="5849" y="1829"/>
                </a:lnTo>
                <a:lnTo>
                  <a:pt x="5872" y="1848"/>
                </a:lnTo>
                <a:lnTo>
                  <a:pt x="5889" y="1863"/>
                </a:lnTo>
                <a:lnTo>
                  <a:pt x="5908" y="1876"/>
                </a:lnTo>
                <a:lnTo>
                  <a:pt x="5928" y="1888"/>
                </a:lnTo>
                <a:lnTo>
                  <a:pt x="5949" y="1899"/>
                </a:lnTo>
                <a:lnTo>
                  <a:pt x="5972" y="1909"/>
                </a:lnTo>
                <a:lnTo>
                  <a:pt x="5994" y="1919"/>
                </a:lnTo>
                <a:lnTo>
                  <a:pt x="6040" y="1936"/>
                </a:lnTo>
                <a:lnTo>
                  <a:pt x="6091" y="1949"/>
                </a:lnTo>
                <a:lnTo>
                  <a:pt x="6144" y="1958"/>
                </a:lnTo>
                <a:lnTo>
                  <a:pt x="6199" y="1964"/>
                </a:lnTo>
                <a:lnTo>
                  <a:pt x="6257" y="1966"/>
                </a:lnTo>
                <a:lnTo>
                  <a:pt x="6325" y="1963"/>
                </a:lnTo>
                <a:lnTo>
                  <a:pt x="6388" y="1955"/>
                </a:lnTo>
                <a:lnTo>
                  <a:pt x="6419" y="1948"/>
                </a:lnTo>
                <a:lnTo>
                  <a:pt x="6448" y="1940"/>
                </a:lnTo>
                <a:lnTo>
                  <a:pt x="6505" y="1921"/>
                </a:lnTo>
                <a:lnTo>
                  <a:pt x="6531" y="1910"/>
                </a:lnTo>
                <a:lnTo>
                  <a:pt x="6557" y="1898"/>
                </a:lnTo>
                <a:lnTo>
                  <a:pt x="6605" y="1869"/>
                </a:lnTo>
                <a:lnTo>
                  <a:pt x="6626" y="1853"/>
                </a:lnTo>
                <a:lnTo>
                  <a:pt x="6647" y="1835"/>
                </a:lnTo>
                <a:lnTo>
                  <a:pt x="6667" y="1816"/>
                </a:lnTo>
                <a:lnTo>
                  <a:pt x="6685" y="1796"/>
                </a:lnTo>
                <a:lnTo>
                  <a:pt x="6699" y="1779"/>
                </a:lnTo>
                <a:lnTo>
                  <a:pt x="6712" y="1760"/>
                </a:lnTo>
                <a:lnTo>
                  <a:pt x="6735" y="1721"/>
                </a:lnTo>
                <a:lnTo>
                  <a:pt x="6755" y="1678"/>
                </a:lnTo>
                <a:lnTo>
                  <a:pt x="6769" y="1628"/>
                </a:lnTo>
                <a:lnTo>
                  <a:pt x="6781" y="1573"/>
                </a:lnTo>
                <a:lnTo>
                  <a:pt x="6786" y="1542"/>
                </a:lnTo>
                <a:lnTo>
                  <a:pt x="6790" y="1509"/>
                </a:lnTo>
                <a:lnTo>
                  <a:pt x="6795" y="1438"/>
                </a:lnTo>
                <a:lnTo>
                  <a:pt x="6796" y="1358"/>
                </a:lnTo>
                <a:close/>
                <a:moveTo>
                  <a:pt x="8720" y="1938"/>
                </a:moveTo>
                <a:lnTo>
                  <a:pt x="8720" y="1254"/>
                </a:lnTo>
                <a:lnTo>
                  <a:pt x="8718" y="1185"/>
                </a:lnTo>
                <a:lnTo>
                  <a:pt x="8716" y="1124"/>
                </a:lnTo>
                <a:lnTo>
                  <a:pt x="8712" y="1072"/>
                </a:lnTo>
                <a:lnTo>
                  <a:pt x="8706" y="1025"/>
                </a:lnTo>
                <a:lnTo>
                  <a:pt x="8698" y="985"/>
                </a:lnTo>
                <a:lnTo>
                  <a:pt x="8688" y="950"/>
                </a:lnTo>
                <a:lnTo>
                  <a:pt x="8676" y="918"/>
                </a:lnTo>
                <a:lnTo>
                  <a:pt x="8662" y="891"/>
                </a:lnTo>
                <a:lnTo>
                  <a:pt x="8650" y="871"/>
                </a:lnTo>
                <a:lnTo>
                  <a:pt x="8636" y="853"/>
                </a:lnTo>
                <a:lnTo>
                  <a:pt x="8622" y="836"/>
                </a:lnTo>
                <a:lnTo>
                  <a:pt x="8605" y="820"/>
                </a:lnTo>
                <a:lnTo>
                  <a:pt x="8589" y="805"/>
                </a:lnTo>
                <a:lnTo>
                  <a:pt x="8570" y="791"/>
                </a:lnTo>
                <a:lnTo>
                  <a:pt x="8529" y="766"/>
                </a:lnTo>
                <a:lnTo>
                  <a:pt x="8506" y="756"/>
                </a:lnTo>
                <a:lnTo>
                  <a:pt x="8484" y="747"/>
                </a:lnTo>
                <a:lnTo>
                  <a:pt x="8436" y="733"/>
                </a:lnTo>
                <a:lnTo>
                  <a:pt x="8385" y="724"/>
                </a:lnTo>
                <a:lnTo>
                  <a:pt x="8332" y="721"/>
                </a:lnTo>
                <a:lnTo>
                  <a:pt x="8300" y="722"/>
                </a:lnTo>
                <a:lnTo>
                  <a:pt x="8269" y="725"/>
                </a:lnTo>
                <a:lnTo>
                  <a:pt x="8239" y="731"/>
                </a:lnTo>
                <a:lnTo>
                  <a:pt x="8210" y="737"/>
                </a:lnTo>
                <a:lnTo>
                  <a:pt x="8182" y="747"/>
                </a:lnTo>
                <a:lnTo>
                  <a:pt x="8155" y="758"/>
                </a:lnTo>
                <a:lnTo>
                  <a:pt x="8130" y="772"/>
                </a:lnTo>
                <a:lnTo>
                  <a:pt x="8106" y="788"/>
                </a:lnTo>
                <a:lnTo>
                  <a:pt x="8083" y="806"/>
                </a:lnTo>
                <a:lnTo>
                  <a:pt x="8061" y="827"/>
                </a:lnTo>
                <a:lnTo>
                  <a:pt x="8040" y="850"/>
                </a:lnTo>
                <a:lnTo>
                  <a:pt x="8021" y="874"/>
                </a:lnTo>
                <a:lnTo>
                  <a:pt x="8002" y="902"/>
                </a:lnTo>
                <a:lnTo>
                  <a:pt x="7984" y="931"/>
                </a:lnTo>
                <a:lnTo>
                  <a:pt x="7968" y="963"/>
                </a:lnTo>
                <a:lnTo>
                  <a:pt x="7951" y="997"/>
                </a:lnTo>
                <a:lnTo>
                  <a:pt x="7942" y="964"/>
                </a:lnTo>
                <a:lnTo>
                  <a:pt x="7932" y="933"/>
                </a:lnTo>
                <a:lnTo>
                  <a:pt x="7908" y="876"/>
                </a:lnTo>
                <a:lnTo>
                  <a:pt x="7893" y="852"/>
                </a:lnTo>
                <a:lnTo>
                  <a:pt x="7885" y="840"/>
                </a:lnTo>
                <a:lnTo>
                  <a:pt x="7877" y="828"/>
                </a:lnTo>
                <a:lnTo>
                  <a:pt x="7869" y="818"/>
                </a:lnTo>
                <a:lnTo>
                  <a:pt x="7859" y="808"/>
                </a:lnTo>
                <a:lnTo>
                  <a:pt x="7840" y="791"/>
                </a:lnTo>
                <a:lnTo>
                  <a:pt x="7820" y="774"/>
                </a:lnTo>
                <a:lnTo>
                  <a:pt x="7798" y="760"/>
                </a:lnTo>
                <a:lnTo>
                  <a:pt x="7773" y="748"/>
                </a:lnTo>
                <a:lnTo>
                  <a:pt x="7748" y="738"/>
                </a:lnTo>
                <a:lnTo>
                  <a:pt x="7721" y="731"/>
                </a:lnTo>
                <a:lnTo>
                  <a:pt x="7692" y="725"/>
                </a:lnTo>
                <a:lnTo>
                  <a:pt x="7662" y="722"/>
                </a:lnTo>
                <a:lnTo>
                  <a:pt x="7630" y="721"/>
                </a:lnTo>
                <a:lnTo>
                  <a:pt x="7598" y="722"/>
                </a:lnTo>
                <a:lnTo>
                  <a:pt x="7567" y="725"/>
                </a:lnTo>
                <a:lnTo>
                  <a:pt x="7537" y="730"/>
                </a:lnTo>
                <a:lnTo>
                  <a:pt x="7509" y="737"/>
                </a:lnTo>
                <a:lnTo>
                  <a:pt x="7481" y="746"/>
                </a:lnTo>
                <a:lnTo>
                  <a:pt x="7456" y="757"/>
                </a:lnTo>
                <a:lnTo>
                  <a:pt x="7431" y="771"/>
                </a:lnTo>
                <a:lnTo>
                  <a:pt x="7408" y="786"/>
                </a:lnTo>
                <a:lnTo>
                  <a:pt x="7386" y="804"/>
                </a:lnTo>
                <a:lnTo>
                  <a:pt x="7364" y="824"/>
                </a:lnTo>
                <a:lnTo>
                  <a:pt x="7344" y="846"/>
                </a:lnTo>
                <a:lnTo>
                  <a:pt x="7324" y="871"/>
                </a:lnTo>
                <a:lnTo>
                  <a:pt x="7307" y="896"/>
                </a:lnTo>
                <a:lnTo>
                  <a:pt x="7288" y="925"/>
                </a:lnTo>
                <a:lnTo>
                  <a:pt x="7270" y="956"/>
                </a:lnTo>
                <a:lnTo>
                  <a:pt x="7253" y="990"/>
                </a:lnTo>
                <a:lnTo>
                  <a:pt x="7253" y="746"/>
                </a:lnTo>
                <a:lnTo>
                  <a:pt x="6927" y="746"/>
                </a:lnTo>
                <a:lnTo>
                  <a:pt x="6927" y="1342"/>
                </a:lnTo>
                <a:lnTo>
                  <a:pt x="6927" y="1938"/>
                </a:lnTo>
                <a:lnTo>
                  <a:pt x="7266" y="1938"/>
                </a:lnTo>
                <a:lnTo>
                  <a:pt x="7266" y="1384"/>
                </a:lnTo>
                <a:lnTo>
                  <a:pt x="7267" y="1329"/>
                </a:lnTo>
                <a:lnTo>
                  <a:pt x="7270" y="1283"/>
                </a:lnTo>
                <a:lnTo>
                  <a:pt x="7276" y="1242"/>
                </a:lnTo>
                <a:lnTo>
                  <a:pt x="7283" y="1207"/>
                </a:lnTo>
                <a:lnTo>
                  <a:pt x="7290" y="1187"/>
                </a:lnTo>
                <a:lnTo>
                  <a:pt x="7297" y="1169"/>
                </a:lnTo>
                <a:lnTo>
                  <a:pt x="7314" y="1135"/>
                </a:lnTo>
                <a:lnTo>
                  <a:pt x="7323" y="1118"/>
                </a:lnTo>
                <a:lnTo>
                  <a:pt x="7334" y="1104"/>
                </a:lnTo>
                <a:lnTo>
                  <a:pt x="7359" y="1078"/>
                </a:lnTo>
                <a:lnTo>
                  <a:pt x="7386" y="1058"/>
                </a:lnTo>
                <a:lnTo>
                  <a:pt x="7416" y="1043"/>
                </a:lnTo>
                <a:lnTo>
                  <a:pt x="7431" y="1037"/>
                </a:lnTo>
                <a:lnTo>
                  <a:pt x="7447" y="1034"/>
                </a:lnTo>
                <a:lnTo>
                  <a:pt x="7481" y="1031"/>
                </a:lnTo>
                <a:lnTo>
                  <a:pt x="7506" y="1032"/>
                </a:lnTo>
                <a:lnTo>
                  <a:pt x="7530" y="1037"/>
                </a:lnTo>
                <a:lnTo>
                  <a:pt x="7551" y="1045"/>
                </a:lnTo>
                <a:lnTo>
                  <a:pt x="7570" y="1056"/>
                </a:lnTo>
                <a:lnTo>
                  <a:pt x="7588" y="1069"/>
                </a:lnTo>
                <a:lnTo>
                  <a:pt x="7602" y="1086"/>
                </a:lnTo>
                <a:lnTo>
                  <a:pt x="7615" y="1106"/>
                </a:lnTo>
                <a:lnTo>
                  <a:pt x="7621" y="1116"/>
                </a:lnTo>
                <a:lnTo>
                  <a:pt x="7625" y="1127"/>
                </a:lnTo>
                <a:lnTo>
                  <a:pt x="7638" y="1165"/>
                </a:lnTo>
                <a:lnTo>
                  <a:pt x="7645" y="1211"/>
                </a:lnTo>
                <a:lnTo>
                  <a:pt x="7650" y="1268"/>
                </a:lnTo>
                <a:lnTo>
                  <a:pt x="7651" y="1342"/>
                </a:lnTo>
                <a:lnTo>
                  <a:pt x="7651" y="1938"/>
                </a:lnTo>
                <a:lnTo>
                  <a:pt x="7993" y="1938"/>
                </a:lnTo>
                <a:lnTo>
                  <a:pt x="7993" y="1364"/>
                </a:lnTo>
                <a:lnTo>
                  <a:pt x="7993" y="1325"/>
                </a:lnTo>
                <a:lnTo>
                  <a:pt x="7996" y="1287"/>
                </a:lnTo>
                <a:lnTo>
                  <a:pt x="8000" y="1253"/>
                </a:lnTo>
                <a:lnTo>
                  <a:pt x="8006" y="1221"/>
                </a:lnTo>
                <a:lnTo>
                  <a:pt x="8014" y="1191"/>
                </a:lnTo>
                <a:lnTo>
                  <a:pt x="8023" y="1164"/>
                </a:lnTo>
                <a:lnTo>
                  <a:pt x="8034" y="1138"/>
                </a:lnTo>
                <a:lnTo>
                  <a:pt x="8046" y="1116"/>
                </a:lnTo>
                <a:lnTo>
                  <a:pt x="8061" y="1096"/>
                </a:lnTo>
                <a:lnTo>
                  <a:pt x="8078" y="1079"/>
                </a:lnTo>
                <a:lnTo>
                  <a:pt x="8095" y="1064"/>
                </a:lnTo>
                <a:lnTo>
                  <a:pt x="8114" y="1052"/>
                </a:lnTo>
                <a:lnTo>
                  <a:pt x="8135" y="1043"/>
                </a:lnTo>
                <a:lnTo>
                  <a:pt x="8158" y="1036"/>
                </a:lnTo>
                <a:lnTo>
                  <a:pt x="8182" y="1032"/>
                </a:lnTo>
                <a:lnTo>
                  <a:pt x="8208" y="1031"/>
                </a:lnTo>
                <a:lnTo>
                  <a:pt x="8238" y="1032"/>
                </a:lnTo>
                <a:lnTo>
                  <a:pt x="8264" y="1037"/>
                </a:lnTo>
                <a:lnTo>
                  <a:pt x="8289" y="1046"/>
                </a:lnTo>
                <a:lnTo>
                  <a:pt x="8310" y="1058"/>
                </a:lnTo>
                <a:lnTo>
                  <a:pt x="8320" y="1066"/>
                </a:lnTo>
                <a:lnTo>
                  <a:pt x="8329" y="1075"/>
                </a:lnTo>
                <a:lnTo>
                  <a:pt x="8336" y="1084"/>
                </a:lnTo>
                <a:lnTo>
                  <a:pt x="8343" y="1095"/>
                </a:lnTo>
                <a:lnTo>
                  <a:pt x="8356" y="1118"/>
                </a:lnTo>
                <a:lnTo>
                  <a:pt x="8365" y="1146"/>
                </a:lnTo>
                <a:lnTo>
                  <a:pt x="8370" y="1178"/>
                </a:lnTo>
                <a:lnTo>
                  <a:pt x="8374" y="1219"/>
                </a:lnTo>
                <a:lnTo>
                  <a:pt x="8376" y="1268"/>
                </a:lnTo>
                <a:lnTo>
                  <a:pt x="8377" y="1324"/>
                </a:lnTo>
                <a:lnTo>
                  <a:pt x="8377" y="1938"/>
                </a:lnTo>
                <a:lnTo>
                  <a:pt x="8720" y="1938"/>
                </a:lnTo>
                <a:close/>
                <a:moveTo>
                  <a:pt x="2622" y="369"/>
                </a:moveTo>
                <a:lnTo>
                  <a:pt x="2584" y="372"/>
                </a:lnTo>
                <a:lnTo>
                  <a:pt x="2566" y="376"/>
                </a:lnTo>
                <a:lnTo>
                  <a:pt x="2549" y="382"/>
                </a:lnTo>
                <a:lnTo>
                  <a:pt x="2534" y="390"/>
                </a:lnTo>
                <a:lnTo>
                  <a:pt x="2519" y="399"/>
                </a:lnTo>
                <a:lnTo>
                  <a:pt x="2494" y="421"/>
                </a:lnTo>
                <a:lnTo>
                  <a:pt x="2483" y="434"/>
                </a:lnTo>
                <a:lnTo>
                  <a:pt x="2473" y="450"/>
                </a:lnTo>
                <a:lnTo>
                  <a:pt x="2465" y="465"/>
                </a:lnTo>
                <a:lnTo>
                  <a:pt x="2458" y="483"/>
                </a:lnTo>
                <a:lnTo>
                  <a:pt x="2453" y="502"/>
                </a:lnTo>
                <a:lnTo>
                  <a:pt x="2449" y="521"/>
                </a:lnTo>
                <a:lnTo>
                  <a:pt x="2446" y="542"/>
                </a:lnTo>
                <a:lnTo>
                  <a:pt x="2446" y="564"/>
                </a:lnTo>
                <a:lnTo>
                  <a:pt x="2446" y="757"/>
                </a:lnTo>
                <a:lnTo>
                  <a:pt x="2692" y="757"/>
                </a:lnTo>
                <a:lnTo>
                  <a:pt x="2692" y="1027"/>
                </a:lnTo>
                <a:lnTo>
                  <a:pt x="2446" y="1027"/>
                </a:lnTo>
                <a:lnTo>
                  <a:pt x="2446" y="1483"/>
                </a:lnTo>
                <a:lnTo>
                  <a:pt x="2446" y="1938"/>
                </a:lnTo>
                <a:lnTo>
                  <a:pt x="2107" y="1938"/>
                </a:lnTo>
                <a:lnTo>
                  <a:pt x="2107" y="1483"/>
                </a:lnTo>
                <a:lnTo>
                  <a:pt x="2107" y="1027"/>
                </a:lnTo>
                <a:lnTo>
                  <a:pt x="1950" y="1027"/>
                </a:lnTo>
                <a:lnTo>
                  <a:pt x="1950" y="757"/>
                </a:lnTo>
                <a:lnTo>
                  <a:pt x="2107" y="757"/>
                </a:lnTo>
                <a:lnTo>
                  <a:pt x="2107" y="595"/>
                </a:lnTo>
                <a:lnTo>
                  <a:pt x="2110" y="501"/>
                </a:lnTo>
                <a:lnTo>
                  <a:pt x="2115" y="454"/>
                </a:lnTo>
                <a:lnTo>
                  <a:pt x="2122" y="407"/>
                </a:lnTo>
                <a:lnTo>
                  <a:pt x="2126" y="385"/>
                </a:lnTo>
                <a:lnTo>
                  <a:pt x="2130" y="363"/>
                </a:lnTo>
                <a:lnTo>
                  <a:pt x="2144" y="320"/>
                </a:lnTo>
                <a:lnTo>
                  <a:pt x="2152" y="299"/>
                </a:lnTo>
                <a:lnTo>
                  <a:pt x="2160" y="278"/>
                </a:lnTo>
                <a:lnTo>
                  <a:pt x="2182" y="240"/>
                </a:lnTo>
                <a:lnTo>
                  <a:pt x="2207" y="203"/>
                </a:lnTo>
                <a:lnTo>
                  <a:pt x="2222" y="186"/>
                </a:lnTo>
                <a:lnTo>
                  <a:pt x="2238" y="171"/>
                </a:lnTo>
                <a:lnTo>
                  <a:pt x="2255" y="156"/>
                </a:lnTo>
                <a:lnTo>
                  <a:pt x="2274" y="142"/>
                </a:lnTo>
                <a:lnTo>
                  <a:pt x="2316" y="118"/>
                </a:lnTo>
                <a:lnTo>
                  <a:pt x="2339" y="108"/>
                </a:lnTo>
                <a:lnTo>
                  <a:pt x="2365" y="99"/>
                </a:lnTo>
                <a:lnTo>
                  <a:pt x="2391" y="90"/>
                </a:lnTo>
                <a:lnTo>
                  <a:pt x="2419" y="83"/>
                </a:lnTo>
                <a:lnTo>
                  <a:pt x="2449" y="79"/>
                </a:lnTo>
                <a:lnTo>
                  <a:pt x="2481" y="74"/>
                </a:lnTo>
                <a:lnTo>
                  <a:pt x="2516" y="72"/>
                </a:lnTo>
                <a:lnTo>
                  <a:pt x="2551" y="71"/>
                </a:lnTo>
                <a:lnTo>
                  <a:pt x="2615" y="73"/>
                </a:lnTo>
                <a:lnTo>
                  <a:pt x="2668" y="79"/>
                </a:lnTo>
                <a:lnTo>
                  <a:pt x="2721" y="88"/>
                </a:lnTo>
                <a:lnTo>
                  <a:pt x="2782" y="100"/>
                </a:lnTo>
                <a:lnTo>
                  <a:pt x="2782" y="390"/>
                </a:lnTo>
                <a:lnTo>
                  <a:pt x="2717" y="375"/>
                </a:lnTo>
                <a:lnTo>
                  <a:pt x="2676" y="371"/>
                </a:lnTo>
                <a:lnTo>
                  <a:pt x="2622" y="369"/>
                </a:lnTo>
                <a:close/>
                <a:moveTo>
                  <a:pt x="1447" y="1554"/>
                </a:moveTo>
                <a:lnTo>
                  <a:pt x="1649" y="1903"/>
                </a:lnTo>
                <a:lnTo>
                  <a:pt x="1599" y="1930"/>
                </a:lnTo>
                <a:lnTo>
                  <a:pt x="1549" y="1955"/>
                </a:lnTo>
                <a:lnTo>
                  <a:pt x="1498" y="1976"/>
                </a:lnTo>
                <a:lnTo>
                  <a:pt x="1446" y="1995"/>
                </a:lnTo>
                <a:lnTo>
                  <a:pt x="1394" y="2010"/>
                </a:lnTo>
                <a:lnTo>
                  <a:pt x="1342" y="2024"/>
                </a:lnTo>
                <a:lnTo>
                  <a:pt x="1288" y="2035"/>
                </a:lnTo>
                <a:lnTo>
                  <a:pt x="1235" y="2042"/>
                </a:lnTo>
                <a:lnTo>
                  <a:pt x="1183" y="2047"/>
                </a:lnTo>
                <a:lnTo>
                  <a:pt x="1130" y="2050"/>
                </a:lnTo>
                <a:lnTo>
                  <a:pt x="1076" y="2050"/>
                </a:lnTo>
                <a:lnTo>
                  <a:pt x="1023" y="2048"/>
                </a:lnTo>
                <a:lnTo>
                  <a:pt x="971" y="2042"/>
                </a:lnTo>
                <a:lnTo>
                  <a:pt x="919" y="2036"/>
                </a:lnTo>
                <a:lnTo>
                  <a:pt x="866" y="2026"/>
                </a:lnTo>
                <a:lnTo>
                  <a:pt x="815" y="2012"/>
                </a:lnTo>
                <a:lnTo>
                  <a:pt x="764" y="1998"/>
                </a:lnTo>
                <a:lnTo>
                  <a:pt x="714" y="1981"/>
                </a:lnTo>
                <a:lnTo>
                  <a:pt x="690" y="1971"/>
                </a:lnTo>
                <a:lnTo>
                  <a:pt x="665" y="1961"/>
                </a:lnTo>
                <a:lnTo>
                  <a:pt x="618" y="1939"/>
                </a:lnTo>
                <a:lnTo>
                  <a:pt x="570" y="1915"/>
                </a:lnTo>
                <a:lnTo>
                  <a:pt x="524" y="1888"/>
                </a:lnTo>
                <a:lnTo>
                  <a:pt x="480" y="1859"/>
                </a:lnTo>
                <a:lnTo>
                  <a:pt x="436" y="1828"/>
                </a:lnTo>
                <a:lnTo>
                  <a:pt x="394" y="1795"/>
                </a:lnTo>
                <a:lnTo>
                  <a:pt x="353" y="1759"/>
                </a:lnTo>
                <a:lnTo>
                  <a:pt x="314" y="1721"/>
                </a:lnTo>
                <a:lnTo>
                  <a:pt x="278" y="1681"/>
                </a:lnTo>
                <a:lnTo>
                  <a:pt x="242" y="1639"/>
                </a:lnTo>
                <a:lnTo>
                  <a:pt x="209" y="1596"/>
                </a:lnTo>
                <a:lnTo>
                  <a:pt x="177" y="1549"/>
                </a:lnTo>
                <a:lnTo>
                  <a:pt x="148" y="1502"/>
                </a:lnTo>
                <a:lnTo>
                  <a:pt x="120" y="1452"/>
                </a:lnTo>
                <a:lnTo>
                  <a:pt x="97" y="1400"/>
                </a:lnTo>
                <a:lnTo>
                  <a:pt x="74" y="1349"/>
                </a:lnTo>
                <a:lnTo>
                  <a:pt x="55" y="1298"/>
                </a:lnTo>
                <a:lnTo>
                  <a:pt x="40" y="1246"/>
                </a:lnTo>
                <a:lnTo>
                  <a:pt x="27" y="1193"/>
                </a:lnTo>
                <a:lnTo>
                  <a:pt x="17" y="1141"/>
                </a:lnTo>
                <a:lnTo>
                  <a:pt x="8" y="1087"/>
                </a:lnTo>
                <a:lnTo>
                  <a:pt x="3" y="1034"/>
                </a:lnTo>
                <a:lnTo>
                  <a:pt x="0" y="981"/>
                </a:lnTo>
                <a:lnTo>
                  <a:pt x="0" y="928"/>
                </a:lnTo>
                <a:lnTo>
                  <a:pt x="2" y="875"/>
                </a:lnTo>
                <a:lnTo>
                  <a:pt x="8" y="822"/>
                </a:lnTo>
                <a:lnTo>
                  <a:pt x="15" y="770"/>
                </a:lnTo>
                <a:lnTo>
                  <a:pt x="25" y="718"/>
                </a:lnTo>
                <a:lnTo>
                  <a:pt x="38" y="667"/>
                </a:lnTo>
                <a:lnTo>
                  <a:pt x="52" y="616"/>
                </a:lnTo>
                <a:lnTo>
                  <a:pt x="70" y="566"/>
                </a:lnTo>
                <a:lnTo>
                  <a:pt x="79" y="542"/>
                </a:lnTo>
                <a:lnTo>
                  <a:pt x="89" y="517"/>
                </a:lnTo>
                <a:lnTo>
                  <a:pt x="111" y="470"/>
                </a:lnTo>
                <a:lnTo>
                  <a:pt x="135" y="422"/>
                </a:lnTo>
                <a:lnTo>
                  <a:pt x="162" y="376"/>
                </a:lnTo>
                <a:lnTo>
                  <a:pt x="191" y="332"/>
                </a:lnTo>
                <a:lnTo>
                  <a:pt x="222" y="289"/>
                </a:lnTo>
                <a:lnTo>
                  <a:pt x="255" y="246"/>
                </a:lnTo>
                <a:lnTo>
                  <a:pt x="291" y="205"/>
                </a:lnTo>
                <a:lnTo>
                  <a:pt x="329" y="166"/>
                </a:lnTo>
                <a:lnTo>
                  <a:pt x="369" y="130"/>
                </a:lnTo>
                <a:lnTo>
                  <a:pt x="411" y="94"/>
                </a:lnTo>
                <a:lnTo>
                  <a:pt x="455" y="61"/>
                </a:lnTo>
                <a:lnTo>
                  <a:pt x="501" y="29"/>
                </a:lnTo>
                <a:lnTo>
                  <a:pt x="550" y="0"/>
                </a:lnTo>
                <a:lnTo>
                  <a:pt x="825" y="74"/>
                </a:lnTo>
                <a:lnTo>
                  <a:pt x="751" y="349"/>
                </a:lnTo>
                <a:lnTo>
                  <a:pt x="720" y="369"/>
                </a:lnTo>
                <a:lnTo>
                  <a:pt x="690" y="389"/>
                </a:lnTo>
                <a:lnTo>
                  <a:pt x="661" y="411"/>
                </a:lnTo>
                <a:lnTo>
                  <a:pt x="634" y="434"/>
                </a:lnTo>
                <a:lnTo>
                  <a:pt x="608" y="459"/>
                </a:lnTo>
                <a:lnTo>
                  <a:pt x="584" y="484"/>
                </a:lnTo>
                <a:lnTo>
                  <a:pt x="540" y="537"/>
                </a:lnTo>
                <a:lnTo>
                  <a:pt x="520" y="565"/>
                </a:lnTo>
                <a:lnTo>
                  <a:pt x="502" y="594"/>
                </a:lnTo>
                <a:lnTo>
                  <a:pt x="485" y="624"/>
                </a:lnTo>
                <a:lnTo>
                  <a:pt x="470" y="655"/>
                </a:lnTo>
                <a:lnTo>
                  <a:pt x="455" y="686"/>
                </a:lnTo>
                <a:lnTo>
                  <a:pt x="443" y="717"/>
                </a:lnTo>
                <a:lnTo>
                  <a:pt x="424" y="782"/>
                </a:lnTo>
                <a:lnTo>
                  <a:pt x="410" y="848"/>
                </a:lnTo>
                <a:lnTo>
                  <a:pt x="403" y="915"/>
                </a:lnTo>
                <a:lnTo>
                  <a:pt x="401" y="948"/>
                </a:lnTo>
                <a:lnTo>
                  <a:pt x="401" y="982"/>
                </a:lnTo>
                <a:lnTo>
                  <a:pt x="403" y="1015"/>
                </a:lnTo>
                <a:lnTo>
                  <a:pt x="406" y="1048"/>
                </a:lnTo>
                <a:lnTo>
                  <a:pt x="411" y="1082"/>
                </a:lnTo>
                <a:lnTo>
                  <a:pt x="418" y="1115"/>
                </a:lnTo>
                <a:lnTo>
                  <a:pt x="426" y="1147"/>
                </a:lnTo>
                <a:lnTo>
                  <a:pt x="435" y="1179"/>
                </a:lnTo>
                <a:lnTo>
                  <a:pt x="448" y="1211"/>
                </a:lnTo>
                <a:lnTo>
                  <a:pt x="460" y="1242"/>
                </a:lnTo>
                <a:lnTo>
                  <a:pt x="475" y="1273"/>
                </a:lnTo>
                <a:lnTo>
                  <a:pt x="491" y="1303"/>
                </a:lnTo>
                <a:lnTo>
                  <a:pt x="509" y="1332"/>
                </a:lnTo>
                <a:lnTo>
                  <a:pt x="528" y="1359"/>
                </a:lnTo>
                <a:lnTo>
                  <a:pt x="570" y="1412"/>
                </a:lnTo>
                <a:lnTo>
                  <a:pt x="593" y="1436"/>
                </a:lnTo>
                <a:lnTo>
                  <a:pt x="618" y="1459"/>
                </a:lnTo>
                <a:lnTo>
                  <a:pt x="643" y="1482"/>
                </a:lnTo>
                <a:lnTo>
                  <a:pt x="669" y="1503"/>
                </a:lnTo>
                <a:lnTo>
                  <a:pt x="724" y="1540"/>
                </a:lnTo>
                <a:lnTo>
                  <a:pt x="753" y="1557"/>
                </a:lnTo>
                <a:lnTo>
                  <a:pt x="783" y="1573"/>
                </a:lnTo>
                <a:lnTo>
                  <a:pt x="844" y="1600"/>
                </a:lnTo>
                <a:lnTo>
                  <a:pt x="876" y="1612"/>
                </a:lnTo>
                <a:lnTo>
                  <a:pt x="909" y="1622"/>
                </a:lnTo>
                <a:lnTo>
                  <a:pt x="974" y="1636"/>
                </a:lnTo>
                <a:lnTo>
                  <a:pt x="1007" y="1642"/>
                </a:lnTo>
                <a:lnTo>
                  <a:pt x="1042" y="1645"/>
                </a:lnTo>
                <a:lnTo>
                  <a:pt x="1075" y="1647"/>
                </a:lnTo>
                <a:lnTo>
                  <a:pt x="1110" y="1647"/>
                </a:lnTo>
                <a:lnTo>
                  <a:pt x="1144" y="1646"/>
                </a:lnTo>
                <a:lnTo>
                  <a:pt x="1178" y="1643"/>
                </a:lnTo>
                <a:lnTo>
                  <a:pt x="1213" y="1638"/>
                </a:lnTo>
                <a:lnTo>
                  <a:pt x="1246" y="1632"/>
                </a:lnTo>
                <a:lnTo>
                  <a:pt x="1281" y="1624"/>
                </a:lnTo>
                <a:lnTo>
                  <a:pt x="1315" y="1614"/>
                </a:lnTo>
                <a:lnTo>
                  <a:pt x="1348" y="1602"/>
                </a:lnTo>
                <a:lnTo>
                  <a:pt x="1382" y="1587"/>
                </a:lnTo>
                <a:lnTo>
                  <a:pt x="1415" y="1572"/>
                </a:lnTo>
                <a:lnTo>
                  <a:pt x="1447" y="1554"/>
                </a:lnTo>
                <a:close/>
                <a:moveTo>
                  <a:pt x="565" y="1259"/>
                </a:moveTo>
                <a:lnTo>
                  <a:pt x="598" y="1309"/>
                </a:lnTo>
                <a:lnTo>
                  <a:pt x="634" y="1356"/>
                </a:lnTo>
                <a:lnTo>
                  <a:pt x="676" y="1398"/>
                </a:lnTo>
                <a:lnTo>
                  <a:pt x="721" y="1435"/>
                </a:lnTo>
                <a:lnTo>
                  <a:pt x="745" y="1453"/>
                </a:lnTo>
                <a:lnTo>
                  <a:pt x="770" y="1468"/>
                </a:lnTo>
                <a:lnTo>
                  <a:pt x="821" y="1497"/>
                </a:lnTo>
                <a:lnTo>
                  <a:pt x="847" y="1509"/>
                </a:lnTo>
                <a:lnTo>
                  <a:pt x="875" y="1520"/>
                </a:lnTo>
                <a:lnTo>
                  <a:pt x="932" y="1539"/>
                </a:lnTo>
                <a:lnTo>
                  <a:pt x="990" y="1553"/>
                </a:lnTo>
                <a:lnTo>
                  <a:pt x="1049" y="1560"/>
                </a:lnTo>
                <a:lnTo>
                  <a:pt x="1108" y="1563"/>
                </a:lnTo>
                <a:lnTo>
                  <a:pt x="1168" y="1558"/>
                </a:lnTo>
                <a:lnTo>
                  <a:pt x="1228" y="1548"/>
                </a:lnTo>
                <a:lnTo>
                  <a:pt x="1288" y="1533"/>
                </a:lnTo>
                <a:lnTo>
                  <a:pt x="1347" y="1509"/>
                </a:lnTo>
                <a:lnTo>
                  <a:pt x="1405" y="1480"/>
                </a:lnTo>
                <a:lnTo>
                  <a:pt x="1460" y="1445"/>
                </a:lnTo>
                <a:lnTo>
                  <a:pt x="1485" y="1426"/>
                </a:lnTo>
                <a:lnTo>
                  <a:pt x="1508" y="1405"/>
                </a:lnTo>
                <a:lnTo>
                  <a:pt x="1553" y="1362"/>
                </a:lnTo>
                <a:lnTo>
                  <a:pt x="1592" y="1314"/>
                </a:lnTo>
                <a:lnTo>
                  <a:pt x="1625" y="1264"/>
                </a:lnTo>
                <a:lnTo>
                  <a:pt x="1639" y="1237"/>
                </a:lnTo>
                <a:lnTo>
                  <a:pt x="1653" y="1211"/>
                </a:lnTo>
                <a:lnTo>
                  <a:pt x="1665" y="1184"/>
                </a:lnTo>
                <a:lnTo>
                  <a:pt x="1676" y="1156"/>
                </a:lnTo>
                <a:lnTo>
                  <a:pt x="1693" y="1099"/>
                </a:lnTo>
                <a:lnTo>
                  <a:pt x="1705" y="1042"/>
                </a:lnTo>
                <a:lnTo>
                  <a:pt x="1709" y="1013"/>
                </a:lnTo>
                <a:lnTo>
                  <a:pt x="1712" y="983"/>
                </a:lnTo>
                <a:lnTo>
                  <a:pt x="1713" y="924"/>
                </a:lnTo>
                <a:lnTo>
                  <a:pt x="1708" y="866"/>
                </a:lnTo>
                <a:lnTo>
                  <a:pt x="1697" y="807"/>
                </a:lnTo>
                <a:lnTo>
                  <a:pt x="1682" y="751"/>
                </a:lnTo>
                <a:lnTo>
                  <a:pt x="1661" y="696"/>
                </a:lnTo>
                <a:lnTo>
                  <a:pt x="1634" y="643"/>
                </a:lnTo>
                <a:lnTo>
                  <a:pt x="1602" y="593"/>
                </a:lnTo>
                <a:lnTo>
                  <a:pt x="1564" y="547"/>
                </a:lnTo>
                <a:lnTo>
                  <a:pt x="1523" y="505"/>
                </a:lnTo>
                <a:lnTo>
                  <a:pt x="1501" y="485"/>
                </a:lnTo>
                <a:lnTo>
                  <a:pt x="1478" y="467"/>
                </a:lnTo>
                <a:lnTo>
                  <a:pt x="1454" y="450"/>
                </a:lnTo>
                <a:lnTo>
                  <a:pt x="1430" y="434"/>
                </a:lnTo>
                <a:lnTo>
                  <a:pt x="1378" y="405"/>
                </a:lnTo>
                <a:lnTo>
                  <a:pt x="1352" y="393"/>
                </a:lnTo>
                <a:lnTo>
                  <a:pt x="1324" y="382"/>
                </a:lnTo>
                <a:lnTo>
                  <a:pt x="1268" y="363"/>
                </a:lnTo>
                <a:lnTo>
                  <a:pt x="1240" y="356"/>
                </a:lnTo>
                <a:lnTo>
                  <a:pt x="1211" y="350"/>
                </a:lnTo>
                <a:lnTo>
                  <a:pt x="1181" y="345"/>
                </a:lnTo>
                <a:lnTo>
                  <a:pt x="1152" y="342"/>
                </a:lnTo>
                <a:lnTo>
                  <a:pt x="1092" y="340"/>
                </a:lnTo>
                <a:lnTo>
                  <a:pt x="1031" y="344"/>
                </a:lnTo>
                <a:lnTo>
                  <a:pt x="971" y="354"/>
                </a:lnTo>
                <a:lnTo>
                  <a:pt x="911" y="370"/>
                </a:lnTo>
                <a:lnTo>
                  <a:pt x="881" y="381"/>
                </a:lnTo>
                <a:lnTo>
                  <a:pt x="852" y="393"/>
                </a:lnTo>
                <a:lnTo>
                  <a:pt x="823" y="406"/>
                </a:lnTo>
                <a:lnTo>
                  <a:pt x="794" y="423"/>
                </a:lnTo>
                <a:lnTo>
                  <a:pt x="766" y="440"/>
                </a:lnTo>
                <a:lnTo>
                  <a:pt x="740" y="457"/>
                </a:lnTo>
                <a:lnTo>
                  <a:pt x="714" y="476"/>
                </a:lnTo>
                <a:lnTo>
                  <a:pt x="691" y="497"/>
                </a:lnTo>
                <a:lnTo>
                  <a:pt x="646" y="541"/>
                </a:lnTo>
                <a:lnTo>
                  <a:pt x="609" y="589"/>
                </a:lnTo>
                <a:lnTo>
                  <a:pt x="574" y="639"/>
                </a:lnTo>
                <a:lnTo>
                  <a:pt x="560" y="664"/>
                </a:lnTo>
                <a:lnTo>
                  <a:pt x="546" y="692"/>
                </a:lnTo>
                <a:lnTo>
                  <a:pt x="534" y="718"/>
                </a:lnTo>
                <a:lnTo>
                  <a:pt x="524" y="746"/>
                </a:lnTo>
                <a:lnTo>
                  <a:pt x="506" y="803"/>
                </a:lnTo>
                <a:lnTo>
                  <a:pt x="494" y="861"/>
                </a:lnTo>
                <a:lnTo>
                  <a:pt x="488" y="920"/>
                </a:lnTo>
                <a:lnTo>
                  <a:pt x="486" y="978"/>
                </a:lnTo>
                <a:lnTo>
                  <a:pt x="491" y="1037"/>
                </a:lnTo>
                <a:lnTo>
                  <a:pt x="495" y="1066"/>
                </a:lnTo>
                <a:lnTo>
                  <a:pt x="501" y="1095"/>
                </a:lnTo>
                <a:lnTo>
                  <a:pt x="516" y="1152"/>
                </a:lnTo>
                <a:lnTo>
                  <a:pt x="538" y="1207"/>
                </a:lnTo>
                <a:lnTo>
                  <a:pt x="565" y="125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6139414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6" r:id="rId1"/>
    <p:sldLayoutId id="2147483807" r:id="rId2"/>
    <p:sldLayoutId id="2147483808" r:id="rId3"/>
    <p:sldLayoutId id="2147483809" r:id="rId4"/>
    <p:sldLayoutId id="2147483810" r:id="rId5"/>
    <p:sldLayoutId id="2147483811" r:id="rId6"/>
    <p:sldLayoutId id="2147483812" r:id="rId7"/>
    <p:sldLayoutId id="2147483813" r:id="rId8"/>
    <p:sldLayoutId id="2147483814" r:id="rId9"/>
    <p:sldLayoutId id="2147483815" r:id="rId10"/>
    <p:sldLayoutId id="2147483816" r:id="rId11"/>
    <p:sldLayoutId id="2147483817" r:id="rId12"/>
    <p:sldLayoutId id="2147483818" r:id="rId13"/>
    <p:sldLayoutId id="2147483819" r:id="rId14"/>
    <p:sldLayoutId id="2147483820" r:id="rId15"/>
    <p:sldLayoutId id="2147483821" r:id="rId16"/>
    <p:sldLayoutId id="2147483822" r:id="rId17"/>
    <p:sldLayoutId id="2147483823" r:id="rId18"/>
    <p:sldLayoutId id="2147483824" r:id="rId19"/>
  </p:sldLayoutIdLs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28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100000"/>
        </a:lnSpc>
        <a:spcBef>
          <a:spcPts val="800"/>
        </a:spcBef>
        <a:buClr>
          <a:schemeClr val="accent2"/>
        </a:buClr>
        <a:buFont typeface="Arial" panose="020B0604020202020204" pitchFamily="34" charset="0"/>
        <a:buChar char="•"/>
        <a:defRPr sz="2000" kern="1200">
          <a:solidFill>
            <a:srgbClr val="000000"/>
          </a:solidFill>
          <a:latin typeface="+mn-lt"/>
          <a:ea typeface="+mn-ea"/>
          <a:cs typeface="+mn-cs"/>
        </a:defRPr>
      </a:lvl1pPr>
      <a:lvl2pPr marL="539750" indent="-273050" algn="l" defTabSz="914400" rtl="0" eaLnBrk="1" latinLnBrk="0" hangingPunct="1">
        <a:lnSpc>
          <a:spcPct val="100000"/>
        </a:lnSpc>
        <a:spcBef>
          <a:spcPts val="800"/>
        </a:spcBef>
        <a:buClr>
          <a:schemeClr val="accent2"/>
        </a:buClr>
        <a:buFont typeface="Arial" panose="020B0604020202020204" pitchFamily="34" charset="0"/>
        <a:buChar char="–"/>
        <a:defRPr sz="1800" kern="1200">
          <a:solidFill>
            <a:srgbClr val="000000"/>
          </a:solidFill>
          <a:latin typeface="+mn-lt"/>
          <a:ea typeface="+mn-ea"/>
          <a:cs typeface="+mn-cs"/>
        </a:defRPr>
      </a:lvl2pPr>
      <a:lvl3pPr marL="806450" indent="-266700" algn="l" defTabSz="914400" rtl="0" eaLnBrk="1" latinLnBrk="0" hangingPunct="1">
        <a:lnSpc>
          <a:spcPct val="100000"/>
        </a:lnSpc>
        <a:spcBef>
          <a:spcPts val="8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+mn-lt"/>
          <a:ea typeface="+mn-ea"/>
          <a:cs typeface="+mn-cs"/>
        </a:defRPr>
      </a:lvl3pPr>
      <a:lvl4pPr marL="1071563" indent="-265113" algn="l" defTabSz="914400" rtl="0" eaLnBrk="1" latinLnBrk="0" hangingPunct="1">
        <a:lnSpc>
          <a:spcPct val="100000"/>
        </a:lnSpc>
        <a:spcBef>
          <a:spcPts val="800"/>
        </a:spcBef>
        <a:buClr>
          <a:schemeClr val="accent2"/>
        </a:buClr>
        <a:buFont typeface="Arial" panose="020B0604020202020204" pitchFamily="34" charset="0"/>
        <a:buChar char="–"/>
        <a:defRPr sz="1400" kern="1200">
          <a:solidFill>
            <a:srgbClr val="000000"/>
          </a:solidFill>
          <a:latin typeface="+mn-lt"/>
          <a:ea typeface="+mn-ea"/>
          <a:cs typeface="+mn-cs"/>
        </a:defRPr>
      </a:lvl4pPr>
      <a:lvl5pPr marL="1346200" indent="-274638" algn="l" defTabSz="914400" rtl="0" eaLnBrk="1" latinLnBrk="0" hangingPunct="1">
        <a:lnSpc>
          <a:spcPct val="100000"/>
        </a:lnSpc>
        <a:spcBef>
          <a:spcPts val="800"/>
        </a:spcBef>
        <a:buClr>
          <a:schemeClr val="accent2"/>
        </a:buClr>
        <a:buFont typeface="Arial" panose="020B0604020202020204" pitchFamily="34" charset="0"/>
        <a:buChar char="•"/>
        <a:defRPr sz="1400" kern="1200">
          <a:solidFill>
            <a:srgbClr val="000000"/>
          </a:solidFill>
          <a:latin typeface="+mn-lt"/>
          <a:ea typeface="+mn-ea"/>
          <a:cs typeface="+mn-cs"/>
        </a:defRPr>
      </a:lvl5pPr>
      <a:lvl6pPr marL="1612900" indent="-266700" algn="l" defTabSz="914400" rtl="0" eaLnBrk="1" latinLnBrk="0" hangingPunct="1">
        <a:lnSpc>
          <a:spcPct val="100000"/>
        </a:lnSpc>
        <a:spcBef>
          <a:spcPts val="800"/>
        </a:spcBef>
        <a:buClr>
          <a:schemeClr val="accent2"/>
        </a:buClr>
        <a:buFont typeface="Arial" panose="020B0604020202020204" pitchFamily="34" charset="0"/>
        <a:buChar char="–"/>
        <a:defRPr sz="1200" kern="1200">
          <a:solidFill>
            <a:srgbClr val="000000"/>
          </a:solidFill>
          <a:latin typeface="+mn-lt"/>
          <a:ea typeface="+mn-ea"/>
          <a:cs typeface="+mn-cs"/>
        </a:defRPr>
      </a:lvl6pPr>
      <a:lvl7pPr marL="1878013" indent="-265113" algn="l" defTabSz="914400" rtl="0" eaLnBrk="1" latinLnBrk="0" hangingPunct="1">
        <a:lnSpc>
          <a:spcPct val="100000"/>
        </a:lnSpc>
        <a:spcBef>
          <a:spcPts val="800"/>
        </a:spcBef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rgbClr val="000000"/>
          </a:solidFill>
          <a:latin typeface="+mn-lt"/>
          <a:ea typeface="+mn-ea"/>
          <a:cs typeface="+mn-cs"/>
        </a:defRPr>
      </a:lvl7pPr>
      <a:lvl8pPr marL="2152650" indent="-274638" algn="l" defTabSz="914400" rtl="0" eaLnBrk="1" latinLnBrk="0" hangingPunct="1">
        <a:lnSpc>
          <a:spcPct val="100000"/>
        </a:lnSpc>
        <a:spcBef>
          <a:spcPts val="800"/>
        </a:spcBef>
        <a:buClr>
          <a:schemeClr val="accent2"/>
        </a:buClr>
        <a:buFont typeface="Arial" panose="020B0604020202020204" pitchFamily="34" charset="0"/>
        <a:buChar char="–"/>
        <a:defRPr sz="1200" kern="1200">
          <a:solidFill>
            <a:srgbClr val="000000"/>
          </a:solidFill>
          <a:latin typeface="+mn-lt"/>
          <a:ea typeface="+mn-ea"/>
          <a:cs typeface="+mn-cs"/>
        </a:defRPr>
      </a:lvl8pPr>
      <a:lvl9pPr marL="2419350" indent="-266700" algn="l" defTabSz="914400" rtl="0" eaLnBrk="1" latinLnBrk="0" hangingPunct="1">
        <a:lnSpc>
          <a:spcPct val="100000"/>
        </a:lnSpc>
        <a:spcBef>
          <a:spcPts val="800"/>
        </a:spcBef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rgbClr val="000000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Relationship Id="rId5" Type="http://schemas.microsoft.com/office/2007/relationships/hdphoto" Target="../media/hdphoto1.wdp"/><Relationship Id="rId4" Type="http://schemas.openxmlformats.org/officeDocument/2006/relationships/image" Target="../media/image2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2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2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76.tiff"/><Relationship Id="rId5" Type="http://schemas.openxmlformats.org/officeDocument/2006/relationships/image" Target="../media/image75.png"/><Relationship Id="rId4" Type="http://schemas.openxmlformats.org/officeDocument/2006/relationships/image" Target="../media/image74.tif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emf"/><Relationship Id="rId3" Type="http://schemas.openxmlformats.org/officeDocument/2006/relationships/image" Target="../media/image25.emf"/><Relationship Id="rId7" Type="http://schemas.openxmlformats.org/officeDocument/2006/relationships/image" Target="../media/image27.emf"/><Relationship Id="rId2" Type="http://schemas.openxmlformats.org/officeDocument/2006/relationships/image" Target="../media/image23.emf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30.emf"/><Relationship Id="rId5" Type="http://schemas.openxmlformats.org/officeDocument/2006/relationships/image" Target="../media/image28.emf"/><Relationship Id="rId4" Type="http://schemas.openxmlformats.org/officeDocument/2006/relationships/image" Target="../media/image26.emf"/><Relationship Id="rId9" Type="http://schemas.openxmlformats.org/officeDocument/2006/relationships/image" Target="../media/image29.em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emf"/><Relationship Id="rId3" Type="http://schemas.openxmlformats.org/officeDocument/2006/relationships/image" Target="../media/image23.emf"/><Relationship Id="rId7" Type="http://schemas.openxmlformats.org/officeDocument/2006/relationships/image" Target="../media/image30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8.emf"/><Relationship Id="rId11" Type="http://schemas.openxmlformats.org/officeDocument/2006/relationships/image" Target="../media/image77.tiff"/><Relationship Id="rId5" Type="http://schemas.openxmlformats.org/officeDocument/2006/relationships/image" Target="../media/image26.emf"/><Relationship Id="rId10" Type="http://schemas.openxmlformats.org/officeDocument/2006/relationships/image" Target="../media/image29.emf"/><Relationship Id="rId4" Type="http://schemas.openxmlformats.org/officeDocument/2006/relationships/image" Target="../media/image25.emf"/><Relationship Id="rId9" Type="http://schemas.openxmlformats.org/officeDocument/2006/relationships/image" Target="../media/image24.emf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2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7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emf"/><Relationship Id="rId3" Type="http://schemas.openxmlformats.org/officeDocument/2006/relationships/image" Target="../media/image24.emf"/><Relationship Id="rId7" Type="http://schemas.openxmlformats.org/officeDocument/2006/relationships/image" Target="../media/image28.emf"/><Relationship Id="rId2" Type="http://schemas.openxmlformats.org/officeDocument/2006/relationships/image" Target="../media/image23.emf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7.emf"/><Relationship Id="rId5" Type="http://schemas.openxmlformats.org/officeDocument/2006/relationships/image" Target="../media/image26.emf"/><Relationship Id="rId4" Type="http://schemas.openxmlformats.org/officeDocument/2006/relationships/image" Target="../media/image25.emf"/><Relationship Id="rId9" Type="http://schemas.openxmlformats.org/officeDocument/2006/relationships/image" Target="../media/image30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33.png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3.xml"/><Relationship Id="rId5" Type="http://schemas.microsoft.com/office/2007/relationships/hdphoto" Target="../media/hdphoto3.wdp"/><Relationship Id="rId4" Type="http://schemas.openxmlformats.org/officeDocument/2006/relationships/image" Target="../media/image35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jpeg"/><Relationship Id="rId3" Type="http://schemas.openxmlformats.org/officeDocument/2006/relationships/image" Target="../media/image38.jpeg"/><Relationship Id="rId7" Type="http://schemas.openxmlformats.org/officeDocument/2006/relationships/image" Target="../media/image42.pn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Relationship Id="rId9" Type="http://schemas.openxmlformats.org/officeDocument/2006/relationships/image" Target="../media/image44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13" Type="http://schemas.openxmlformats.org/officeDocument/2006/relationships/image" Target="../media/image55.png"/><Relationship Id="rId18" Type="http://schemas.openxmlformats.org/officeDocument/2006/relationships/image" Target="../media/image60.png"/><Relationship Id="rId3" Type="http://schemas.openxmlformats.org/officeDocument/2006/relationships/image" Target="../media/image45.png"/><Relationship Id="rId21" Type="http://schemas.openxmlformats.org/officeDocument/2006/relationships/image" Target="../media/image63.png"/><Relationship Id="rId7" Type="http://schemas.openxmlformats.org/officeDocument/2006/relationships/image" Target="../media/image49.png"/><Relationship Id="rId12" Type="http://schemas.openxmlformats.org/officeDocument/2006/relationships/image" Target="../media/image54.emf"/><Relationship Id="rId17" Type="http://schemas.openxmlformats.org/officeDocument/2006/relationships/image" Target="../media/image59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58.png"/><Relationship Id="rId20" Type="http://schemas.openxmlformats.org/officeDocument/2006/relationships/image" Target="../media/image62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48.jpeg"/><Relationship Id="rId11" Type="http://schemas.openxmlformats.org/officeDocument/2006/relationships/image" Target="../media/image53.png"/><Relationship Id="rId5" Type="http://schemas.openxmlformats.org/officeDocument/2006/relationships/image" Target="../media/image47.jpeg"/><Relationship Id="rId15" Type="http://schemas.openxmlformats.org/officeDocument/2006/relationships/image" Target="../media/image57.png"/><Relationship Id="rId23" Type="http://schemas.openxmlformats.org/officeDocument/2006/relationships/image" Target="../media/image65.png"/><Relationship Id="rId10" Type="http://schemas.openxmlformats.org/officeDocument/2006/relationships/image" Target="../media/image52.png"/><Relationship Id="rId19" Type="http://schemas.openxmlformats.org/officeDocument/2006/relationships/image" Target="../media/image61.png"/><Relationship Id="rId4" Type="http://schemas.openxmlformats.org/officeDocument/2006/relationships/image" Target="../media/image46.png"/><Relationship Id="rId9" Type="http://schemas.openxmlformats.org/officeDocument/2006/relationships/image" Target="../media/image51.png"/><Relationship Id="rId14" Type="http://schemas.openxmlformats.org/officeDocument/2006/relationships/image" Target="../media/image56.jpg"/><Relationship Id="rId22" Type="http://schemas.openxmlformats.org/officeDocument/2006/relationships/image" Target="../media/image6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68.jpeg"/><Relationship Id="rId4" Type="http://schemas.openxmlformats.org/officeDocument/2006/relationships/image" Target="../media/image6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lassholder for bilde 7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5206923" y="12499"/>
            <a:ext cx="6985078" cy="6857330"/>
          </a:xfrm>
        </p:spPr>
      </p:pic>
      <p:sp>
        <p:nvSpPr>
          <p:cNvPr id="7" name="TekstSylinder 6"/>
          <p:cNvSpPr txBox="1"/>
          <p:nvPr/>
        </p:nvSpPr>
        <p:spPr>
          <a:xfrm>
            <a:off x="1073932" y="1531856"/>
            <a:ext cx="4044063" cy="2620763"/>
          </a:xfrm>
          <a:prstGeom prst="rect">
            <a:avLst/>
          </a:prstGeom>
          <a:noFill/>
        </p:spPr>
        <p:txBody>
          <a:bodyPr wrap="square" lIns="0" tIns="35097" rIns="0" rtlCol="0">
            <a:spAutoFit/>
          </a:bodyPr>
          <a:lstStyle/>
          <a:p>
            <a:pPr defTabSz="685709" fontAlgn="base">
              <a:spcBef>
                <a:spcPct val="0"/>
              </a:spcBef>
              <a:spcAft>
                <a:spcPct val="0"/>
              </a:spcAft>
            </a:pPr>
            <a:r>
              <a:rPr lang="en-GB" sz="1500" i="1" dirty="0">
                <a:solidFill>
                  <a:prstClr val="black"/>
                </a:solidFill>
                <a:latin typeface="Arial" charset="0"/>
                <a:ea typeface="MS PGothic" charset="0"/>
              </a:rPr>
              <a:t>Building a Nordic ecosystem for smart, </a:t>
            </a:r>
            <a:br>
              <a:rPr lang="en-GB" sz="1500" i="1" dirty="0">
                <a:solidFill>
                  <a:prstClr val="black"/>
                </a:solidFill>
                <a:latin typeface="Arial" charset="0"/>
                <a:ea typeface="MS PGothic" charset="0"/>
              </a:rPr>
            </a:br>
            <a:r>
              <a:rPr lang="en-GB" sz="1500" i="1" dirty="0">
                <a:solidFill>
                  <a:prstClr val="black"/>
                </a:solidFill>
                <a:latin typeface="Arial" charset="0"/>
                <a:ea typeface="MS PGothic" charset="0"/>
              </a:rPr>
              <a:t>sustainable and liveable communities</a:t>
            </a:r>
          </a:p>
          <a:p>
            <a:pPr defTabSz="685709" fontAlgn="base">
              <a:spcBef>
                <a:spcPct val="0"/>
              </a:spcBef>
              <a:spcAft>
                <a:spcPct val="0"/>
              </a:spcAft>
            </a:pPr>
            <a:endParaRPr lang="en-GB" sz="2700" dirty="0">
              <a:solidFill>
                <a:prstClr val="black"/>
              </a:solidFill>
              <a:latin typeface="Arial" charset="0"/>
              <a:ea typeface="MS PGothic" charset="0"/>
            </a:endParaRPr>
          </a:p>
          <a:p>
            <a:pPr defTabSz="685709" fontAlgn="base">
              <a:spcBef>
                <a:spcPct val="0"/>
              </a:spcBef>
              <a:spcAft>
                <a:spcPct val="0"/>
              </a:spcAft>
            </a:pPr>
            <a:endParaRPr lang="en-GB" sz="2700" dirty="0">
              <a:solidFill>
                <a:prstClr val="black"/>
              </a:solidFill>
              <a:latin typeface="Arial" charset="0"/>
              <a:ea typeface="MS PGothic" charset="0"/>
            </a:endParaRPr>
          </a:p>
          <a:p>
            <a:pPr defTabSz="685709" fontAlgn="base">
              <a:spcBef>
                <a:spcPct val="0"/>
              </a:spcBef>
              <a:spcAft>
                <a:spcPct val="0"/>
              </a:spcAft>
            </a:pPr>
            <a:r>
              <a:rPr lang="en-GB" sz="2700" b="1" dirty="0">
                <a:solidFill>
                  <a:prstClr val="black"/>
                </a:solidFill>
                <a:latin typeface="Arial" charset="0"/>
                <a:ea typeface="MS PGothic" charset="0"/>
              </a:rPr>
              <a:t>Smart Energy network</a:t>
            </a:r>
          </a:p>
          <a:p>
            <a:pPr defTabSz="685709" fontAlgn="base">
              <a:spcBef>
                <a:spcPct val="0"/>
              </a:spcBef>
              <a:spcAft>
                <a:spcPct val="0"/>
              </a:spcAft>
            </a:pPr>
            <a:r>
              <a:rPr lang="en-GB" sz="2700" b="1" dirty="0">
                <a:solidFill>
                  <a:prstClr val="black"/>
                </a:solidFill>
                <a:latin typeface="Arial" charset="0"/>
                <a:ea typeface="MS PGothic" charset="0"/>
              </a:rPr>
              <a:t>21. </a:t>
            </a:r>
            <a:r>
              <a:rPr lang="en-GB" sz="2700" b="1" dirty="0" err="1">
                <a:solidFill>
                  <a:prstClr val="black"/>
                </a:solidFill>
                <a:latin typeface="Arial" charset="0"/>
                <a:ea typeface="MS PGothic" charset="0"/>
              </a:rPr>
              <a:t>mai</a:t>
            </a:r>
            <a:r>
              <a:rPr lang="en-GB" sz="2700" b="1" dirty="0">
                <a:solidFill>
                  <a:prstClr val="black"/>
                </a:solidFill>
                <a:latin typeface="Arial" charset="0"/>
                <a:ea typeface="MS PGothic" charset="0"/>
              </a:rPr>
              <a:t> 2019</a:t>
            </a:r>
          </a:p>
          <a:p>
            <a:pPr defTabSz="685709" fontAlgn="base">
              <a:spcBef>
                <a:spcPct val="0"/>
              </a:spcBef>
              <a:spcAft>
                <a:spcPct val="0"/>
              </a:spcAft>
            </a:pPr>
            <a:r>
              <a:rPr lang="en-GB" sz="2700" dirty="0">
                <a:solidFill>
                  <a:prstClr val="black"/>
                </a:solidFill>
                <a:latin typeface="Arial" charset="0"/>
                <a:ea typeface="MS PGothic" charset="0"/>
              </a:rPr>
              <a:t> </a:t>
            </a:r>
            <a:endParaRPr lang="nb-NO" sz="2700" dirty="0">
              <a:solidFill>
                <a:prstClr val="black"/>
              </a:solidFill>
              <a:latin typeface="Arial" charset="0"/>
              <a:ea typeface="MS PGothic" charset="0"/>
            </a:endParaRPr>
          </a:p>
        </p:txBody>
      </p:sp>
      <p:pic>
        <p:nvPicPr>
          <p:cNvPr id="5" name="Bilde 4"/>
          <p:cNvPicPr>
            <a:picLocks noChangeAspect="1"/>
          </p:cNvPicPr>
          <p:nvPr/>
        </p:nvPicPr>
        <p:blipFill rotWithShape="1">
          <a:blip r:embed="rId4" cstate="email">
            <a:duotone>
              <a:prstClr val="black"/>
              <a:srgbClr val="00000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4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3933" y="728964"/>
            <a:ext cx="6993783" cy="828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2141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>
            <a:extLst>
              <a:ext uri="{FF2B5EF4-FFF2-40B4-BE49-F238E27FC236}">
                <a16:creationId xmlns:a16="http://schemas.microsoft.com/office/drawing/2014/main" id="{61B05A83-E289-AF46-A9E3-75368909CAF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930" y="-929"/>
            <a:ext cx="12190809" cy="6857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1427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1"/>
          <p:cNvSpPr txBox="1">
            <a:spLocks/>
          </p:cNvSpPr>
          <p:nvPr/>
        </p:nvSpPr>
        <p:spPr>
          <a:xfrm>
            <a:off x="587926" y="2472775"/>
            <a:ext cx="10152137" cy="1907679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Geneva" pitchFamily="-106" charset="-128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1"/>
                </a:solidFill>
                <a:latin typeface="Arial" pitchFamily="-106" charset="0"/>
                <a:ea typeface="MS PGothic" pitchFamily="34" charset="-128"/>
                <a:cs typeface="Geneva" pitchFamily="-106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1"/>
                </a:solidFill>
                <a:latin typeface="Arial" pitchFamily="-106" charset="0"/>
                <a:ea typeface="MS PGothic" pitchFamily="34" charset="-128"/>
                <a:cs typeface="Geneva" pitchFamily="-106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1"/>
                </a:solidFill>
                <a:latin typeface="Arial" pitchFamily="-106" charset="0"/>
                <a:ea typeface="MS PGothic" pitchFamily="34" charset="-128"/>
                <a:cs typeface="Geneva" pitchFamily="-106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1"/>
                </a:solidFill>
                <a:latin typeface="Arial" pitchFamily="-106" charset="0"/>
                <a:ea typeface="MS PGothic" pitchFamily="34" charset="-128"/>
                <a:cs typeface="Geneva" pitchFamily="-106" charset="-128"/>
              </a:defRPr>
            </a:lvl5pPr>
            <a:lvl6pPr marL="812359" algn="l" rtl="0" eaLnBrk="1" fontAlgn="base" hangingPunct="1">
              <a:spcBef>
                <a:spcPct val="0"/>
              </a:spcBef>
              <a:spcAft>
                <a:spcPct val="0"/>
              </a:spcAft>
              <a:defRPr sz="5375" b="1">
                <a:solidFill>
                  <a:srgbClr val="024731"/>
                </a:solidFill>
                <a:latin typeface="Arial" pitchFamily="-106" charset="0"/>
                <a:ea typeface="Geneva" pitchFamily="-106" charset="-128"/>
                <a:cs typeface="Geneva" pitchFamily="-106" charset="-128"/>
              </a:defRPr>
            </a:lvl6pPr>
            <a:lvl7pPr marL="1624718" algn="l" rtl="0" eaLnBrk="1" fontAlgn="base" hangingPunct="1">
              <a:spcBef>
                <a:spcPct val="0"/>
              </a:spcBef>
              <a:spcAft>
                <a:spcPct val="0"/>
              </a:spcAft>
              <a:defRPr sz="5375" b="1">
                <a:solidFill>
                  <a:srgbClr val="024731"/>
                </a:solidFill>
                <a:latin typeface="Arial" pitchFamily="-106" charset="0"/>
                <a:ea typeface="Geneva" pitchFamily="-106" charset="-128"/>
                <a:cs typeface="Geneva" pitchFamily="-106" charset="-128"/>
              </a:defRPr>
            </a:lvl7pPr>
            <a:lvl8pPr marL="2437076" algn="l" rtl="0" eaLnBrk="1" fontAlgn="base" hangingPunct="1">
              <a:spcBef>
                <a:spcPct val="0"/>
              </a:spcBef>
              <a:spcAft>
                <a:spcPct val="0"/>
              </a:spcAft>
              <a:defRPr sz="5375" b="1">
                <a:solidFill>
                  <a:srgbClr val="024731"/>
                </a:solidFill>
                <a:latin typeface="Arial" pitchFamily="-106" charset="0"/>
                <a:ea typeface="Geneva" pitchFamily="-106" charset="-128"/>
                <a:cs typeface="Geneva" pitchFamily="-106" charset="-128"/>
              </a:defRPr>
            </a:lvl8pPr>
            <a:lvl9pPr marL="3249434" algn="l" rtl="0" eaLnBrk="1" fontAlgn="base" hangingPunct="1">
              <a:spcBef>
                <a:spcPct val="0"/>
              </a:spcBef>
              <a:spcAft>
                <a:spcPct val="0"/>
              </a:spcAft>
              <a:defRPr sz="5375" b="1">
                <a:solidFill>
                  <a:srgbClr val="024731"/>
                </a:solidFill>
                <a:latin typeface="Arial" pitchFamily="-106" charset="0"/>
                <a:ea typeface="Geneva" pitchFamily="-106" charset="-128"/>
                <a:cs typeface="Geneva" pitchFamily="-106" charset="-128"/>
              </a:defRPr>
            </a:lvl9pPr>
          </a:lstStyle>
          <a:p>
            <a:pPr algn="ctr" defTabSz="685709">
              <a:lnSpc>
                <a:spcPts val="6599"/>
              </a:lnSpc>
            </a:pPr>
            <a:r>
              <a:rPr lang="nb-NO" sz="7199" dirty="0">
                <a:solidFill>
                  <a:prstClr val="white"/>
                </a:solidFill>
              </a:rPr>
              <a:t>Nordic Edge China</a:t>
            </a:r>
          </a:p>
        </p:txBody>
      </p:sp>
      <p:pic>
        <p:nvPicPr>
          <p:cNvPr id="7" name="Picture Placeholder 6" descr="A group of people standing in front of a mountain&#10;&#10;Description automatically generated">
            <a:extLst>
              <a:ext uri="{FF2B5EF4-FFF2-40B4-BE49-F238E27FC236}">
                <a16:creationId xmlns:a16="http://schemas.microsoft.com/office/drawing/2014/main" id="{C7B4EF18-893C-3D41-BC4D-5691936A5A98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9" r="354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76187582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lassholder for bilde 2"/>
          <p:cNvPicPr>
            <a:picLocks noGrp="1" noChangeAspect="1"/>
          </p:cNvPicPr>
          <p:nvPr>
            <p:ph type="pic" sz="quarter" idx="1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3352"/>
            <a:ext cx="12198082" cy="6879932"/>
          </a:xfrm>
        </p:spPr>
      </p:pic>
      <p:sp>
        <p:nvSpPr>
          <p:cNvPr id="4" name="Tittel 1"/>
          <p:cNvSpPr txBox="1">
            <a:spLocks/>
          </p:cNvSpPr>
          <p:nvPr/>
        </p:nvSpPr>
        <p:spPr>
          <a:xfrm>
            <a:off x="587926" y="2472775"/>
            <a:ext cx="10152137" cy="1907679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Geneva" pitchFamily="-106" charset="-128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1"/>
                </a:solidFill>
                <a:latin typeface="Arial" pitchFamily="-106" charset="0"/>
                <a:ea typeface="MS PGothic" pitchFamily="34" charset="-128"/>
                <a:cs typeface="Geneva" pitchFamily="-106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1"/>
                </a:solidFill>
                <a:latin typeface="Arial" pitchFamily="-106" charset="0"/>
                <a:ea typeface="MS PGothic" pitchFamily="34" charset="-128"/>
                <a:cs typeface="Geneva" pitchFamily="-106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1"/>
                </a:solidFill>
                <a:latin typeface="Arial" pitchFamily="-106" charset="0"/>
                <a:ea typeface="MS PGothic" pitchFamily="34" charset="-128"/>
                <a:cs typeface="Geneva" pitchFamily="-106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1"/>
                </a:solidFill>
                <a:latin typeface="Arial" pitchFamily="-106" charset="0"/>
                <a:ea typeface="MS PGothic" pitchFamily="34" charset="-128"/>
                <a:cs typeface="Geneva" pitchFamily="-106" charset="-128"/>
              </a:defRPr>
            </a:lvl5pPr>
            <a:lvl6pPr marL="812359" algn="l" rtl="0" eaLnBrk="1" fontAlgn="base" hangingPunct="1">
              <a:spcBef>
                <a:spcPct val="0"/>
              </a:spcBef>
              <a:spcAft>
                <a:spcPct val="0"/>
              </a:spcAft>
              <a:defRPr sz="5375" b="1">
                <a:solidFill>
                  <a:srgbClr val="024731"/>
                </a:solidFill>
                <a:latin typeface="Arial" pitchFamily="-106" charset="0"/>
                <a:ea typeface="Geneva" pitchFamily="-106" charset="-128"/>
                <a:cs typeface="Geneva" pitchFamily="-106" charset="-128"/>
              </a:defRPr>
            </a:lvl6pPr>
            <a:lvl7pPr marL="1624718" algn="l" rtl="0" eaLnBrk="1" fontAlgn="base" hangingPunct="1">
              <a:spcBef>
                <a:spcPct val="0"/>
              </a:spcBef>
              <a:spcAft>
                <a:spcPct val="0"/>
              </a:spcAft>
              <a:defRPr sz="5375" b="1">
                <a:solidFill>
                  <a:srgbClr val="024731"/>
                </a:solidFill>
                <a:latin typeface="Arial" pitchFamily="-106" charset="0"/>
                <a:ea typeface="Geneva" pitchFamily="-106" charset="-128"/>
                <a:cs typeface="Geneva" pitchFamily="-106" charset="-128"/>
              </a:defRPr>
            </a:lvl7pPr>
            <a:lvl8pPr marL="2437076" algn="l" rtl="0" eaLnBrk="1" fontAlgn="base" hangingPunct="1">
              <a:spcBef>
                <a:spcPct val="0"/>
              </a:spcBef>
              <a:spcAft>
                <a:spcPct val="0"/>
              </a:spcAft>
              <a:defRPr sz="5375" b="1">
                <a:solidFill>
                  <a:srgbClr val="024731"/>
                </a:solidFill>
                <a:latin typeface="Arial" pitchFamily="-106" charset="0"/>
                <a:ea typeface="Geneva" pitchFamily="-106" charset="-128"/>
                <a:cs typeface="Geneva" pitchFamily="-106" charset="-128"/>
              </a:defRPr>
            </a:lvl8pPr>
            <a:lvl9pPr marL="3249434" algn="l" rtl="0" eaLnBrk="1" fontAlgn="base" hangingPunct="1">
              <a:spcBef>
                <a:spcPct val="0"/>
              </a:spcBef>
              <a:spcAft>
                <a:spcPct val="0"/>
              </a:spcAft>
              <a:defRPr sz="5375" b="1">
                <a:solidFill>
                  <a:srgbClr val="024731"/>
                </a:solidFill>
                <a:latin typeface="Arial" pitchFamily="-106" charset="0"/>
                <a:ea typeface="Geneva" pitchFamily="-106" charset="-128"/>
                <a:cs typeface="Geneva" pitchFamily="-106" charset="-128"/>
              </a:defRPr>
            </a:lvl9pPr>
          </a:lstStyle>
          <a:p>
            <a:pPr algn="ctr" defTabSz="685709">
              <a:lnSpc>
                <a:spcPts val="6599"/>
              </a:lnSpc>
            </a:pPr>
            <a:r>
              <a:rPr lang="nb-NO" sz="6599" dirty="0">
                <a:solidFill>
                  <a:prstClr val="white"/>
                </a:solidFill>
              </a:rPr>
              <a:t>Nordic Edge Washington</a:t>
            </a:r>
          </a:p>
        </p:txBody>
      </p:sp>
    </p:spTree>
    <p:extLst>
      <p:ext uri="{BB962C8B-B14F-4D97-AF65-F5344CB8AC3E}">
        <p14:creationId xmlns:p14="http://schemas.microsoft.com/office/powerpoint/2010/main" val="4245903569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 descr="nordicedge-logo-cluster-rgb.eps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1959" y="1646976"/>
            <a:ext cx="5848641" cy="3655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2390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/>
          <p:cNvSpPr>
            <a:spLocks noGrp="1"/>
          </p:cNvSpPr>
          <p:nvPr>
            <p:ph type="title"/>
          </p:nvPr>
        </p:nvSpPr>
        <p:spPr>
          <a:xfrm>
            <a:off x="719804" y="540531"/>
            <a:ext cx="10752394" cy="900322"/>
          </a:xfrm>
        </p:spPr>
        <p:txBody>
          <a:bodyPr/>
          <a:lstStyle/>
          <a:p>
            <a:pPr algn="ctr"/>
            <a:r>
              <a:rPr lang="nb-NO" dirty="0"/>
              <a:t>Smart City </a:t>
            </a:r>
            <a:r>
              <a:rPr lang="nb-NO" dirty="0" err="1"/>
              <a:t>Innovation</a:t>
            </a:r>
            <a:r>
              <a:rPr lang="nb-NO" dirty="0"/>
              <a:t> Cluster</a:t>
            </a:r>
          </a:p>
        </p:txBody>
      </p:sp>
      <p:sp>
        <p:nvSpPr>
          <p:cNvPr id="16" name="Tittel 5"/>
          <p:cNvSpPr txBox="1">
            <a:spLocks/>
          </p:cNvSpPr>
          <p:nvPr/>
        </p:nvSpPr>
        <p:spPr bwMode="auto">
          <a:xfrm>
            <a:off x="1523691" y="1284497"/>
            <a:ext cx="9144620" cy="1626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Geneva" pitchFamily="-106" charset="-128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1"/>
                </a:solidFill>
                <a:latin typeface="Arial" pitchFamily="-106" charset="0"/>
                <a:ea typeface="MS PGothic" pitchFamily="34" charset="-128"/>
                <a:cs typeface="Geneva" pitchFamily="-106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1"/>
                </a:solidFill>
                <a:latin typeface="Arial" pitchFamily="-106" charset="0"/>
                <a:ea typeface="MS PGothic" pitchFamily="34" charset="-128"/>
                <a:cs typeface="Geneva" pitchFamily="-106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1"/>
                </a:solidFill>
                <a:latin typeface="Arial" pitchFamily="-106" charset="0"/>
                <a:ea typeface="MS PGothic" pitchFamily="34" charset="-128"/>
                <a:cs typeface="Geneva" pitchFamily="-106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1"/>
                </a:solidFill>
                <a:latin typeface="Arial" pitchFamily="-106" charset="0"/>
                <a:ea typeface="MS PGothic" pitchFamily="34" charset="-128"/>
                <a:cs typeface="Geneva" pitchFamily="-106" charset="-128"/>
              </a:defRPr>
            </a:lvl5pPr>
            <a:lvl6pPr marL="812359" algn="l" rtl="0" eaLnBrk="1" fontAlgn="base" hangingPunct="1">
              <a:spcBef>
                <a:spcPct val="0"/>
              </a:spcBef>
              <a:spcAft>
                <a:spcPct val="0"/>
              </a:spcAft>
              <a:defRPr sz="5375" b="1">
                <a:solidFill>
                  <a:srgbClr val="024731"/>
                </a:solidFill>
                <a:latin typeface="Arial" pitchFamily="-106" charset="0"/>
                <a:ea typeface="Geneva" pitchFamily="-106" charset="-128"/>
                <a:cs typeface="Geneva" pitchFamily="-106" charset="-128"/>
              </a:defRPr>
            </a:lvl6pPr>
            <a:lvl7pPr marL="1624718" algn="l" rtl="0" eaLnBrk="1" fontAlgn="base" hangingPunct="1">
              <a:spcBef>
                <a:spcPct val="0"/>
              </a:spcBef>
              <a:spcAft>
                <a:spcPct val="0"/>
              </a:spcAft>
              <a:defRPr sz="5375" b="1">
                <a:solidFill>
                  <a:srgbClr val="024731"/>
                </a:solidFill>
                <a:latin typeface="Arial" pitchFamily="-106" charset="0"/>
                <a:ea typeface="Geneva" pitchFamily="-106" charset="-128"/>
                <a:cs typeface="Geneva" pitchFamily="-106" charset="-128"/>
              </a:defRPr>
            </a:lvl7pPr>
            <a:lvl8pPr marL="2437076" algn="l" rtl="0" eaLnBrk="1" fontAlgn="base" hangingPunct="1">
              <a:spcBef>
                <a:spcPct val="0"/>
              </a:spcBef>
              <a:spcAft>
                <a:spcPct val="0"/>
              </a:spcAft>
              <a:defRPr sz="5375" b="1">
                <a:solidFill>
                  <a:srgbClr val="024731"/>
                </a:solidFill>
                <a:latin typeface="Arial" pitchFamily="-106" charset="0"/>
                <a:ea typeface="Geneva" pitchFamily="-106" charset="-128"/>
                <a:cs typeface="Geneva" pitchFamily="-106" charset="-128"/>
              </a:defRPr>
            </a:lvl8pPr>
            <a:lvl9pPr marL="3249434" algn="l" rtl="0" eaLnBrk="1" fontAlgn="base" hangingPunct="1">
              <a:spcBef>
                <a:spcPct val="0"/>
              </a:spcBef>
              <a:spcAft>
                <a:spcPct val="0"/>
              </a:spcAft>
              <a:defRPr sz="5375" b="1">
                <a:solidFill>
                  <a:srgbClr val="024731"/>
                </a:solidFill>
                <a:latin typeface="Arial" pitchFamily="-106" charset="0"/>
                <a:ea typeface="Geneva" pitchFamily="-106" charset="-128"/>
                <a:cs typeface="Geneva" pitchFamily="-106" charset="-128"/>
              </a:defRPr>
            </a:lvl9pPr>
          </a:lstStyle>
          <a:p>
            <a:pPr algn="ctr" defTabSz="685709"/>
            <a:r>
              <a:rPr lang="nb-NO" sz="1600" b="0" dirty="0">
                <a:solidFill>
                  <a:prstClr val="black"/>
                </a:solidFill>
                <a:latin typeface="Helvetica"/>
                <a:cs typeface="Helvetica"/>
              </a:rPr>
              <a:t>Smart City </a:t>
            </a:r>
            <a:r>
              <a:rPr lang="nb-NO" sz="1600" b="0" dirty="0" err="1">
                <a:solidFill>
                  <a:prstClr val="black"/>
                </a:solidFill>
                <a:latin typeface="Helvetica"/>
                <a:cs typeface="Helvetica"/>
              </a:rPr>
              <a:t>Innovation</a:t>
            </a:r>
            <a:r>
              <a:rPr lang="nb-NO" sz="1600" b="0" dirty="0">
                <a:solidFill>
                  <a:prstClr val="black"/>
                </a:solidFill>
                <a:latin typeface="Helvetica"/>
                <a:cs typeface="Helvetica"/>
              </a:rPr>
              <a:t> Cluster er en del av Norwegian </a:t>
            </a:r>
            <a:r>
              <a:rPr lang="nb-NO" sz="1600" b="0" dirty="0" err="1">
                <a:solidFill>
                  <a:prstClr val="black"/>
                </a:solidFill>
                <a:latin typeface="Helvetica"/>
                <a:cs typeface="Helvetica"/>
              </a:rPr>
              <a:t>Innovation</a:t>
            </a:r>
            <a:r>
              <a:rPr lang="nb-NO" sz="1600" b="0" dirty="0">
                <a:solidFill>
                  <a:prstClr val="black"/>
                </a:solidFill>
                <a:latin typeface="Helvetica"/>
                <a:cs typeface="Helvetica"/>
              </a:rPr>
              <a:t> Cluster. For økt innovasjon og samarbeid mellom bedrifter, forsknings- og utdanningsmiljøer, og offentlige aktører.</a:t>
            </a:r>
            <a:endParaRPr lang="en-GB" sz="1600" b="0" dirty="0">
              <a:solidFill>
                <a:prstClr val="black"/>
              </a:solidFill>
              <a:latin typeface="Helvetica"/>
              <a:cs typeface="Helvetica"/>
            </a:endParaRPr>
          </a:p>
        </p:txBody>
      </p:sp>
      <p:pic>
        <p:nvPicPr>
          <p:cNvPr id="2" name="Bilde 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80073" y="2780991"/>
            <a:ext cx="4031856" cy="1447659"/>
          </a:xfrm>
          <a:prstGeom prst="rect">
            <a:avLst/>
          </a:prstGeom>
        </p:spPr>
      </p:pic>
      <p:grpSp>
        <p:nvGrpSpPr>
          <p:cNvPr id="7" name="Gruppe 6"/>
          <p:cNvGrpSpPr/>
          <p:nvPr/>
        </p:nvGrpSpPr>
        <p:grpSpPr>
          <a:xfrm>
            <a:off x="2154994" y="4725018"/>
            <a:ext cx="7882015" cy="763948"/>
            <a:chOff x="3982294" y="10442523"/>
            <a:chExt cx="15765568" cy="1528045"/>
          </a:xfrm>
        </p:grpSpPr>
        <p:pic>
          <p:nvPicPr>
            <p:cNvPr id="4" name="Bilde 3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238878" y="10818440"/>
              <a:ext cx="5904656" cy="1086620"/>
            </a:xfrm>
            <a:prstGeom prst="rect">
              <a:avLst/>
            </a:prstGeom>
          </p:spPr>
        </p:pic>
        <p:pic>
          <p:nvPicPr>
            <p:cNvPr id="5" name="Bilde 4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82294" y="10442523"/>
              <a:ext cx="4104456" cy="1427453"/>
            </a:xfrm>
            <a:prstGeom prst="rect">
              <a:avLst/>
            </a:prstGeom>
          </p:spPr>
        </p:pic>
        <p:pic>
          <p:nvPicPr>
            <p:cNvPr id="6" name="Bilde 5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6262550" y="10677130"/>
              <a:ext cx="3485312" cy="12934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65604897"/>
      </p:ext>
    </p:extLst>
  </p:cSld>
  <p:clrMapOvr>
    <a:masterClrMapping/>
  </p:clrMapOvr>
  <p:transition spd="slow" advClick="0" advTm="8000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De fremste barrierene i dagens smartbyutvikling</a:t>
            </a:r>
            <a:endParaRPr lang="nb-NO" sz="1800" b="0" dirty="0"/>
          </a:p>
        </p:txBody>
      </p:sp>
      <p:grpSp>
        <p:nvGrpSpPr>
          <p:cNvPr id="8" name="Gruppe 7"/>
          <p:cNvGrpSpPr/>
          <p:nvPr/>
        </p:nvGrpSpPr>
        <p:grpSpPr>
          <a:xfrm>
            <a:off x="6906011" y="4563015"/>
            <a:ext cx="610320" cy="987873"/>
            <a:chOff x="8795378" y="2297420"/>
            <a:chExt cx="989600" cy="1601782"/>
          </a:xfrm>
        </p:grpSpPr>
        <p:sp>
          <p:nvSpPr>
            <p:cNvPr id="9" name="TekstSylinder 8"/>
            <p:cNvSpPr txBox="1"/>
            <p:nvPr/>
          </p:nvSpPr>
          <p:spPr>
            <a:xfrm>
              <a:off x="8805796" y="3131924"/>
              <a:ext cx="979182" cy="76727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709" fontAlgn="base">
                <a:spcBef>
                  <a:spcPct val="0"/>
                </a:spcBef>
                <a:spcAft>
                  <a:spcPct val="0"/>
                </a:spcAft>
              </a:pPr>
              <a:r>
                <a:rPr lang="nb-NO" sz="825" dirty="0">
                  <a:solidFill>
                    <a:prstClr val="black"/>
                  </a:solidFill>
                  <a:latin typeface="Arial" charset="0"/>
                  <a:ea typeface="MS PGothic" charset="0"/>
                </a:rPr>
                <a:t>RISIKO-</a:t>
              </a:r>
            </a:p>
            <a:p>
              <a:pPr defTabSz="685709" fontAlgn="base">
                <a:spcBef>
                  <a:spcPct val="0"/>
                </a:spcBef>
                <a:spcAft>
                  <a:spcPct val="0"/>
                </a:spcAft>
              </a:pPr>
              <a:r>
                <a:rPr lang="nb-NO" sz="825" dirty="0">
                  <a:solidFill>
                    <a:prstClr val="black"/>
                  </a:solidFill>
                  <a:latin typeface="Arial" charset="0"/>
                  <a:ea typeface="MS PGothic" charset="0"/>
                </a:rPr>
                <a:t>KAPITAL</a:t>
              </a:r>
            </a:p>
          </p:txBody>
        </p:sp>
        <p:grpSp>
          <p:nvGrpSpPr>
            <p:cNvPr id="10" name="Gruppe 9"/>
            <p:cNvGrpSpPr/>
            <p:nvPr/>
          </p:nvGrpSpPr>
          <p:grpSpPr>
            <a:xfrm>
              <a:off x="8795378" y="2297420"/>
              <a:ext cx="839055" cy="839055"/>
              <a:chOff x="8795378" y="2362638"/>
              <a:chExt cx="839055" cy="839055"/>
            </a:xfrm>
          </p:grpSpPr>
          <p:sp>
            <p:nvSpPr>
              <p:cNvPr id="11" name="Ellipse 10"/>
              <p:cNvSpPr/>
              <p:nvPr/>
            </p:nvSpPr>
            <p:spPr>
              <a:xfrm>
                <a:off x="8795378" y="2362638"/>
                <a:ext cx="839055" cy="839055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0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b-NO" sz="1350">
                  <a:solidFill>
                    <a:prstClr val="white"/>
                  </a:solidFill>
                  <a:latin typeface="Arial"/>
                </a:endParaRPr>
              </a:p>
            </p:txBody>
          </p:sp>
          <p:pic>
            <p:nvPicPr>
              <p:cNvPr id="12" name="Bilde 11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9002008" y="2509488"/>
                <a:ext cx="435937" cy="217969"/>
              </a:xfrm>
              <a:prstGeom prst="rect">
                <a:avLst/>
              </a:prstGeom>
            </p:spPr>
          </p:pic>
          <p:pic>
            <p:nvPicPr>
              <p:cNvPr id="13" name="Bilde 12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9050853" y="2765489"/>
                <a:ext cx="367467" cy="367467"/>
              </a:xfrm>
              <a:prstGeom prst="rect">
                <a:avLst/>
              </a:prstGeom>
            </p:spPr>
          </p:pic>
        </p:grpSp>
      </p:grpSp>
      <p:grpSp>
        <p:nvGrpSpPr>
          <p:cNvPr id="14" name="Gruppe 13"/>
          <p:cNvGrpSpPr/>
          <p:nvPr/>
        </p:nvGrpSpPr>
        <p:grpSpPr>
          <a:xfrm>
            <a:off x="2088570" y="2026486"/>
            <a:ext cx="1136638" cy="839376"/>
            <a:chOff x="2208629" y="2297420"/>
            <a:chExt cx="1923498" cy="1420452"/>
          </a:xfrm>
        </p:grpSpPr>
        <p:sp>
          <p:nvSpPr>
            <p:cNvPr id="15" name="TekstSylinder 14"/>
            <p:cNvSpPr txBox="1"/>
            <p:nvPr/>
          </p:nvSpPr>
          <p:spPr>
            <a:xfrm>
              <a:off x="2208629" y="3131925"/>
              <a:ext cx="1923498" cy="58594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709" fontAlgn="base">
                <a:spcBef>
                  <a:spcPct val="0"/>
                </a:spcBef>
                <a:spcAft>
                  <a:spcPct val="0"/>
                </a:spcAft>
              </a:pPr>
              <a:r>
                <a:rPr lang="nb-NO" sz="825" dirty="0">
                  <a:solidFill>
                    <a:prstClr val="black"/>
                  </a:solidFill>
                  <a:latin typeface="Arial" charset="0"/>
                  <a:ea typeface="MS PGothic" charset="0"/>
                </a:rPr>
                <a:t>FORSKNING OG UTDANNING</a:t>
              </a:r>
            </a:p>
          </p:txBody>
        </p:sp>
        <p:grpSp>
          <p:nvGrpSpPr>
            <p:cNvPr id="16" name="Gruppe 15"/>
            <p:cNvGrpSpPr/>
            <p:nvPr/>
          </p:nvGrpSpPr>
          <p:grpSpPr>
            <a:xfrm>
              <a:off x="2778462" y="2297420"/>
              <a:ext cx="839055" cy="839055"/>
              <a:chOff x="5073596" y="2014502"/>
              <a:chExt cx="839055" cy="839055"/>
            </a:xfrm>
          </p:grpSpPr>
          <p:sp>
            <p:nvSpPr>
              <p:cNvPr id="17" name="Ellipse 16"/>
              <p:cNvSpPr/>
              <p:nvPr/>
            </p:nvSpPr>
            <p:spPr>
              <a:xfrm>
                <a:off x="5073596" y="2014502"/>
                <a:ext cx="839055" cy="839055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0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b-NO" sz="1350">
                  <a:solidFill>
                    <a:prstClr val="white"/>
                  </a:solidFill>
                  <a:latin typeface="Arial"/>
                </a:endParaRPr>
              </a:p>
            </p:txBody>
          </p:sp>
          <p:pic>
            <p:nvPicPr>
              <p:cNvPr id="18" name="Bilde 17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5191647" y="2126346"/>
                <a:ext cx="275503" cy="344379"/>
              </a:xfrm>
              <a:prstGeom prst="rect">
                <a:avLst/>
              </a:prstGeom>
            </p:spPr>
          </p:pic>
          <p:pic>
            <p:nvPicPr>
              <p:cNvPr id="19" name="Bilde 18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5337935" y="2426964"/>
                <a:ext cx="442410" cy="331807"/>
              </a:xfrm>
              <a:prstGeom prst="rect">
                <a:avLst/>
              </a:prstGeom>
            </p:spPr>
          </p:pic>
        </p:grpSp>
      </p:grpSp>
      <p:grpSp>
        <p:nvGrpSpPr>
          <p:cNvPr id="20" name="Gruppe 19"/>
          <p:cNvGrpSpPr/>
          <p:nvPr/>
        </p:nvGrpSpPr>
        <p:grpSpPr>
          <a:xfrm>
            <a:off x="2147724" y="4563015"/>
            <a:ext cx="1018331" cy="728131"/>
            <a:chOff x="631085" y="2297420"/>
            <a:chExt cx="1670079" cy="1194147"/>
          </a:xfrm>
        </p:grpSpPr>
        <p:sp>
          <p:nvSpPr>
            <p:cNvPr id="21" name="TekstSylinder 20"/>
            <p:cNvSpPr txBox="1"/>
            <p:nvPr/>
          </p:nvSpPr>
          <p:spPr>
            <a:xfrm>
              <a:off x="631085" y="3131926"/>
              <a:ext cx="1670079" cy="3596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709" fontAlgn="base">
                <a:spcBef>
                  <a:spcPct val="0"/>
                </a:spcBef>
                <a:spcAft>
                  <a:spcPct val="0"/>
                </a:spcAft>
              </a:pPr>
              <a:r>
                <a:rPr lang="nb-NO" sz="825" dirty="0">
                  <a:solidFill>
                    <a:prstClr val="black"/>
                  </a:solidFill>
                  <a:latin typeface="Arial" charset="0"/>
                  <a:ea typeface="MS PGothic" charset="0"/>
                </a:rPr>
                <a:t>GRÜNDERE</a:t>
              </a:r>
            </a:p>
          </p:txBody>
        </p:sp>
        <p:grpSp>
          <p:nvGrpSpPr>
            <p:cNvPr id="22" name="Gruppe 21"/>
            <p:cNvGrpSpPr/>
            <p:nvPr/>
          </p:nvGrpSpPr>
          <p:grpSpPr>
            <a:xfrm>
              <a:off x="1046598" y="2297420"/>
              <a:ext cx="839055" cy="839055"/>
              <a:chOff x="1046598" y="2297420"/>
              <a:chExt cx="839055" cy="839055"/>
            </a:xfrm>
          </p:grpSpPr>
          <p:sp>
            <p:nvSpPr>
              <p:cNvPr id="23" name="Ellipse 22"/>
              <p:cNvSpPr/>
              <p:nvPr/>
            </p:nvSpPr>
            <p:spPr>
              <a:xfrm>
                <a:off x="1046598" y="2297420"/>
                <a:ext cx="839055" cy="839055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0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b-NO" sz="1350">
                  <a:solidFill>
                    <a:prstClr val="white"/>
                  </a:solidFill>
                  <a:latin typeface="Arial"/>
                </a:endParaRPr>
              </a:p>
            </p:txBody>
          </p:sp>
          <p:pic>
            <p:nvPicPr>
              <p:cNvPr id="24" name="Bilde 23"/>
              <p:cNvPicPr>
                <a:picLocks noChangeAspect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53707" y="2431733"/>
                <a:ext cx="628993" cy="602132"/>
              </a:xfrm>
              <a:prstGeom prst="rect">
                <a:avLst/>
              </a:prstGeom>
            </p:spPr>
          </p:pic>
        </p:grpSp>
      </p:grpSp>
      <p:grpSp>
        <p:nvGrpSpPr>
          <p:cNvPr id="25" name="Gruppe 24"/>
          <p:cNvGrpSpPr/>
          <p:nvPr/>
        </p:nvGrpSpPr>
        <p:grpSpPr>
          <a:xfrm>
            <a:off x="6651383" y="2026486"/>
            <a:ext cx="1119575" cy="860916"/>
            <a:chOff x="4022188" y="2312316"/>
            <a:chExt cx="1815329" cy="1395928"/>
          </a:xfrm>
        </p:grpSpPr>
        <p:sp>
          <p:nvSpPr>
            <p:cNvPr id="26" name="TekstSylinder 25"/>
            <p:cNvSpPr txBox="1"/>
            <p:nvPr/>
          </p:nvSpPr>
          <p:spPr>
            <a:xfrm>
              <a:off x="4022188" y="3146820"/>
              <a:ext cx="1815329" cy="5614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709" fontAlgn="base">
                <a:spcBef>
                  <a:spcPct val="0"/>
                </a:spcBef>
                <a:spcAft>
                  <a:spcPct val="0"/>
                </a:spcAft>
              </a:pPr>
              <a:r>
                <a:rPr lang="nb-NO" sz="825" dirty="0">
                  <a:solidFill>
                    <a:prstClr val="black"/>
                  </a:solidFill>
                  <a:latin typeface="Arial" charset="0"/>
                  <a:ea typeface="MS PGothic" charset="0"/>
                </a:rPr>
                <a:t>OFFENTLIGE</a:t>
              </a:r>
            </a:p>
            <a:p>
              <a:pPr algn="ctr" defTabSz="685709" fontAlgn="base">
                <a:spcBef>
                  <a:spcPct val="0"/>
                </a:spcBef>
                <a:spcAft>
                  <a:spcPct val="0"/>
                </a:spcAft>
              </a:pPr>
              <a:r>
                <a:rPr lang="nb-NO" sz="825" dirty="0">
                  <a:solidFill>
                    <a:prstClr val="black"/>
                  </a:solidFill>
                  <a:latin typeface="Arial" charset="0"/>
                  <a:ea typeface="MS PGothic" charset="0"/>
                </a:rPr>
                <a:t>MYNDIGHETER</a:t>
              </a:r>
            </a:p>
          </p:txBody>
        </p:sp>
        <p:grpSp>
          <p:nvGrpSpPr>
            <p:cNvPr id="27" name="Gruppe 26"/>
            <p:cNvGrpSpPr/>
            <p:nvPr/>
          </p:nvGrpSpPr>
          <p:grpSpPr>
            <a:xfrm>
              <a:off x="4510326" y="2312316"/>
              <a:ext cx="839055" cy="839055"/>
              <a:chOff x="9525902" y="2048433"/>
              <a:chExt cx="839055" cy="839055"/>
            </a:xfrm>
          </p:grpSpPr>
          <p:sp>
            <p:nvSpPr>
              <p:cNvPr id="28" name="Ellipse 27"/>
              <p:cNvSpPr/>
              <p:nvPr/>
            </p:nvSpPr>
            <p:spPr>
              <a:xfrm>
                <a:off x="9525902" y="2048433"/>
                <a:ext cx="839055" cy="839055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0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b-NO" sz="1350">
                  <a:solidFill>
                    <a:prstClr val="white"/>
                  </a:solidFill>
                  <a:latin typeface="Arial"/>
                </a:endParaRPr>
              </a:p>
            </p:txBody>
          </p:sp>
          <p:pic>
            <p:nvPicPr>
              <p:cNvPr id="29" name="Bilde 28"/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9662756" y="2246673"/>
                <a:ext cx="380547" cy="380547"/>
              </a:xfrm>
              <a:prstGeom prst="rect">
                <a:avLst/>
              </a:prstGeom>
            </p:spPr>
          </p:pic>
          <p:sp>
            <p:nvSpPr>
              <p:cNvPr id="30" name="TekstSylinder 29"/>
              <p:cNvSpPr txBox="1"/>
              <p:nvPr/>
            </p:nvSpPr>
            <p:spPr>
              <a:xfrm>
                <a:off x="10007339" y="2359351"/>
                <a:ext cx="320384" cy="48656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8570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nb-NO" sz="1350" dirty="0">
                    <a:solidFill>
                      <a:prstClr val="black"/>
                    </a:solidFill>
                    <a:latin typeface="Avenir Next Condensed" charset="0"/>
                    <a:ea typeface="Avenir Next Condensed" charset="0"/>
                    <a:cs typeface="Avenir Next Condensed" charset="0"/>
                  </a:rPr>
                  <a:t>§</a:t>
                </a:r>
              </a:p>
            </p:txBody>
          </p:sp>
        </p:grpSp>
      </p:grpSp>
      <p:cxnSp>
        <p:nvCxnSpPr>
          <p:cNvPr id="7" name="Rett linje 6"/>
          <p:cNvCxnSpPr/>
          <p:nvPr/>
        </p:nvCxnSpPr>
        <p:spPr>
          <a:xfrm>
            <a:off x="3073886" y="2495213"/>
            <a:ext cx="686821" cy="456658"/>
          </a:xfrm>
          <a:prstGeom prst="line">
            <a:avLst/>
          </a:prstGeom>
          <a:ln w="7620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Rett linje 139"/>
          <p:cNvCxnSpPr/>
          <p:nvPr/>
        </p:nvCxnSpPr>
        <p:spPr>
          <a:xfrm flipH="1">
            <a:off x="2940743" y="4216344"/>
            <a:ext cx="658487" cy="409777"/>
          </a:xfrm>
          <a:prstGeom prst="line">
            <a:avLst/>
          </a:prstGeom>
          <a:ln w="7620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Rett linje 142"/>
          <p:cNvCxnSpPr/>
          <p:nvPr/>
        </p:nvCxnSpPr>
        <p:spPr>
          <a:xfrm flipH="1">
            <a:off x="6044065" y="2466292"/>
            <a:ext cx="830187" cy="571500"/>
          </a:xfrm>
          <a:prstGeom prst="line">
            <a:avLst/>
          </a:prstGeom>
          <a:ln w="7620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Rett linje 146"/>
          <p:cNvCxnSpPr/>
          <p:nvPr/>
        </p:nvCxnSpPr>
        <p:spPr>
          <a:xfrm>
            <a:off x="6132790" y="4245401"/>
            <a:ext cx="710445" cy="425129"/>
          </a:xfrm>
          <a:prstGeom prst="line">
            <a:avLst/>
          </a:prstGeom>
          <a:ln w="7620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Friform 163"/>
          <p:cNvSpPr/>
          <p:nvPr/>
        </p:nvSpPr>
        <p:spPr>
          <a:xfrm rot="7405152">
            <a:off x="4669399" y="3100382"/>
            <a:ext cx="1211429" cy="170798"/>
          </a:xfrm>
          <a:custGeom>
            <a:avLst/>
            <a:gdLst>
              <a:gd name="connsiteX0" fmla="*/ 0 w 1206500"/>
              <a:gd name="connsiteY0" fmla="*/ 0 h 482900"/>
              <a:gd name="connsiteX1" fmla="*/ 393700 w 1206500"/>
              <a:gd name="connsiteY1" fmla="*/ 482600 h 482900"/>
              <a:gd name="connsiteX2" fmla="*/ 787400 w 1206500"/>
              <a:gd name="connsiteY2" fmla="*/ 76200 h 482900"/>
              <a:gd name="connsiteX3" fmla="*/ 1206500 w 1206500"/>
              <a:gd name="connsiteY3" fmla="*/ 330200 h 48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06500" h="482900">
                <a:moveTo>
                  <a:pt x="0" y="0"/>
                </a:moveTo>
                <a:cubicBezTo>
                  <a:pt x="131233" y="234950"/>
                  <a:pt x="262467" y="469900"/>
                  <a:pt x="393700" y="482600"/>
                </a:cubicBezTo>
                <a:cubicBezTo>
                  <a:pt x="524933" y="495300"/>
                  <a:pt x="651933" y="101600"/>
                  <a:pt x="787400" y="76200"/>
                </a:cubicBezTo>
                <a:cubicBezTo>
                  <a:pt x="922867" y="50800"/>
                  <a:pt x="1206500" y="330200"/>
                  <a:pt x="1206500" y="330200"/>
                </a:cubicBezTo>
              </a:path>
            </a:pathLst>
          </a:custGeom>
          <a:noFill/>
          <a:ln w="38100">
            <a:solidFill>
              <a:srgbClr val="ED0B2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09" fontAlgn="base">
              <a:spcBef>
                <a:spcPct val="0"/>
              </a:spcBef>
              <a:spcAft>
                <a:spcPct val="0"/>
              </a:spcAft>
            </a:pPr>
            <a:endParaRPr lang="nb-NO" sz="1350">
              <a:solidFill>
                <a:prstClr val="white"/>
              </a:solidFill>
              <a:latin typeface="Arial"/>
            </a:endParaRPr>
          </a:p>
        </p:txBody>
      </p:sp>
      <p:sp>
        <p:nvSpPr>
          <p:cNvPr id="166" name="Friform 165"/>
          <p:cNvSpPr/>
          <p:nvPr/>
        </p:nvSpPr>
        <p:spPr>
          <a:xfrm rot="7405152">
            <a:off x="4476665" y="4019284"/>
            <a:ext cx="1211429" cy="288012"/>
          </a:xfrm>
          <a:custGeom>
            <a:avLst/>
            <a:gdLst>
              <a:gd name="connsiteX0" fmla="*/ 0 w 1206500"/>
              <a:gd name="connsiteY0" fmla="*/ 0 h 482900"/>
              <a:gd name="connsiteX1" fmla="*/ 393700 w 1206500"/>
              <a:gd name="connsiteY1" fmla="*/ 482600 h 482900"/>
              <a:gd name="connsiteX2" fmla="*/ 787400 w 1206500"/>
              <a:gd name="connsiteY2" fmla="*/ 76200 h 482900"/>
              <a:gd name="connsiteX3" fmla="*/ 1206500 w 1206500"/>
              <a:gd name="connsiteY3" fmla="*/ 330200 h 48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06500" h="482900">
                <a:moveTo>
                  <a:pt x="0" y="0"/>
                </a:moveTo>
                <a:cubicBezTo>
                  <a:pt x="131233" y="234950"/>
                  <a:pt x="262467" y="469900"/>
                  <a:pt x="393700" y="482600"/>
                </a:cubicBezTo>
                <a:cubicBezTo>
                  <a:pt x="524933" y="495300"/>
                  <a:pt x="651933" y="101600"/>
                  <a:pt x="787400" y="76200"/>
                </a:cubicBezTo>
                <a:cubicBezTo>
                  <a:pt x="922867" y="50800"/>
                  <a:pt x="1206500" y="330200"/>
                  <a:pt x="1206500" y="330200"/>
                </a:cubicBezTo>
              </a:path>
            </a:pathLst>
          </a:custGeom>
          <a:noFill/>
          <a:ln w="38100">
            <a:solidFill>
              <a:srgbClr val="ED0B2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09" fontAlgn="base">
              <a:spcBef>
                <a:spcPct val="0"/>
              </a:spcBef>
              <a:spcAft>
                <a:spcPct val="0"/>
              </a:spcAft>
            </a:pPr>
            <a:endParaRPr lang="nb-NO" sz="1350">
              <a:solidFill>
                <a:prstClr val="white"/>
              </a:solidFill>
              <a:latin typeface="Arial"/>
            </a:endParaRPr>
          </a:p>
        </p:txBody>
      </p:sp>
      <p:cxnSp>
        <p:nvCxnSpPr>
          <p:cNvPr id="169" name="Rett linje 168"/>
          <p:cNvCxnSpPr/>
          <p:nvPr/>
        </p:nvCxnSpPr>
        <p:spPr>
          <a:xfrm flipV="1">
            <a:off x="3212561" y="2364703"/>
            <a:ext cx="452286" cy="673770"/>
          </a:xfrm>
          <a:prstGeom prst="line">
            <a:avLst/>
          </a:prstGeom>
          <a:ln w="38100">
            <a:solidFill>
              <a:srgbClr val="ED0B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Rett linje 177"/>
          <p:cNvCxnSpPr/>
          <p:nvPr/>
        </p:nvCxnSpPr>
        <p:spPr>
          <a:xfrm rot="17601021" flipV="1">
            <a:off x="3003060" y="4064453"/>
            <a:ext cx="452286" cy="673770"/>
          </a:xfrm>
          <a:prstGeom prst="line">
            <a:avLst/>
          </a:prstGeom>
          <a:ln w="38100">
            <a:solidFill>
              <a:srgbClr val="ED0B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Rett linje 180"/>
          <p:cNvCxnSpPr/>
          <p:nvPr/>
        </p:nvCxnSpPr>
        <p:spPr>
          <a:xfrm rot="17453008" flipV="1">
            <a:off x="6239916" y="2322950"/>
            <a:ext cx="452286" cy="673770"/>
          </a:xfrm>
          <a:prstGeom prst="line">
            <a:avLst/>
          </a:prstGeom>
          <a:ln w="38100">
            <a:solidFill>
              <a:srgbClr val="ED0B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Rett linje 183"/>
          <p:cNvCxnSpPr/>
          <p:nvPr/>
        </p:nvCxnSpPr>
        <p:spPr>
          <a:xfrm flipV="1">
            <a:off x="6385180" y="4125072"/>
            <a:ext cx="452286" cy="673770"/>
          </a:xfrm>
          <a:prstGeom prst="line">
            <a:avLst/>
          </a:prstGeom>
          <a:ln w="38100">
            <a:solidFill>
              <a:srgbClr val="ED0B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5" name="Gruppe 294"/>
          <p:cNvGrpSpPr/>
          <p:nvPr/>
        </p:nvGrpSpPr>
        <p:grpSpPr>
          <a:xfrm>
            <a:off x="4302066" y="3365482"/>
            <a:ext cx="475047" cy="475047"/>
            <a:chOff x="2584178" y="3995936"/>
            <a:chExt cx="839055" cy="839055"/>
          </a:xfrm>
        </p:grpSpPr>
        <p:sp>
          <p:nvSpPr>
            <p:cNvPr id="296" name="Ellipse 295"/>
            <p:cNvSpPr/>
            <p:nvPr/>
          </p:nvSpPr>
          <p:spPr>
            <a:xfrm>
              <a:off x="2584178" y="3995936"/>
              <a:ext cx="839055" cy="83905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09" fontAlgn="base">
                <a:spcBef>
                  <a:spcPct val="0"/>
                </a:spcBef>
                <a:spcAft>
                  <a:spcPct val="0"/>
                </a:spcAft>
              </a:pPr>
              <a:endParaRPr lang="nb-NO" sz="1350">
                <a:solidFill>
                  <a:prstClr val="white"/>
                </a:solidFill>
                <a:latin typeface="Arial"/>
              </a:endParaRPr>
            </a:p>
          </p:txBody>
        </p:sp>
        <p:pic>
          <p:nvPicPr>
            <p:cNvPr id="297" name="Bilde 296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750851" y="4319662"/>
              <a:ext cx="333553" cy="416941"/>
            </a:xfrm>
            <a:prstGeom prst="rect">
              <a:avLst/>
            </a:prstGeom>
          </p:spPr>
        </p:pic>
        <p:pic>
          <p:nvPicPr>
            <p:cNvPr id="298" name="Bilde 297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985032" y="4106345"/>
              <a:ext cx="308741" cy="411655"/>
            </a:xfrm>
            <a:prstGeom prst="rect">
              <a:avLst/>
            </a:prstGeom>
          </p:spPr>
        </p:pic>
      </p:grpSp>
      <p:grpSp>
        <p:nvGrpSpPr>
          <p:cNvPr id="299" name="Gruppe 298"/>
          <p:cNvGrpSpPr/>
          <p:nvPr/>
        </p:nvGrpSpPr>
        <p:grpSpPr>
          <a:xfrm>
            <a:off x="4625432" y="3972506"/>
            <a:ext cx="365123" cy="365123"/>
            <a:chOff x="2584178" y="3995936"/>
            <a:chExt cx="839055" cy="839055"/>
          </a:xfrm>
        </p:grpSpPr>
        <p:sp>
          <p:nvSpPr>
            <p:cNvPr id="300" name="Ellipse 299"/>
            <p:cNvSpPr/>
            <p:nvPr/>
          </p:nvSpPr>
          <p:spPr>
            <a:xfrm>
              <a:off x="2584178" y="3995936"/>
              <a:ext cx="839055" cy="83905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09" fontAlgn="base">
                <a:spcBef>
                  <a:spcPct val="0"/>
                </a:spcBef>
                <a:spcAft>
                  <a:spcPct val="0"/>
                </a:spcAft>
              </a:pPr>
              <a:endParaRPr lang="nb-NO" sz="1350">
                <a:solidFill>
                  <a:prstClr val="white"/>
                </a:solidFill>
                <a:latin typeface="Arial"/>
              </a:endParaRPr>
            </a:p>
          </p:txBody>
        </p:sp>
        <p:pic>
          <p:nvPicPr>
            <p:cNvPr id="301" name="Bilde 300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750851" y="4319662"/>
              <a:ext cx="333553" cy="416941"/>
            </a:xfrm>
            <a:prstGeom prst="rect">
              <a:avLst/>
            </a:prstGeom>
          </p:spPr>
        </p:pic>
        <p:pic>
          <p:nvPicPr>
            <p:cNvPr id="302" name="Bilde 301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985032" y="4106345"/>
              <a:ext cx="308741" cy="411655"/>
            </a:xfrm>
            <a:prstGeom prst="rect">
              <a:avLst/>
            </a:prstGeom>
          </p:spPr>
        </p:pic>
      </p:grpSp>
      <p:grpSp>
        <p:nvGrpSpPr>
          <p:cNvPr id="303" name="Gruppe 302"/>
          <p:cNvGrpSpPr/>
          <p:nvPr/>
        </p:nvGrpSpPr>
        <p:grpSpPr>
          <a:xfrm>
            <a:off x="5025961" y="2698376"/>
            <a:ext cx="286175" cy="286175"/>
            <a:chOff x="2584178" y="3995936"/>
            <a:chExt cx="839055" cy="839055"/>
          </a:xfrm>
        </p:grpSpPr>
        <p:sp>
          <p:nvSpPr>
            <p:cNvPr id="304" name="Ellipse 303"/>
            <p:cNvSpPr/>
            <p:nvPr/>
          </p:nvSpPr>
          <p:spPr>
            <a:xfrm>
              <a:off x="2584178" y="3995936"/>
              <a:ext cx="839055" cy="83905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09" fontAlgn="base">
                <a:spcBef>
                  <a:spcPct val="0"/>
                </a:spcBef>
                <a:spcAft>
                  <a:spcPct val="0"/>
                </a:spcAft>
              </a:pPr>
              <a:endParaRPr lang="nb-NO" sz="1350">
                <a:solidFill>
                  <a:prstClr val="white"/>
                </a:solidFill>
                <a:latin typeface="Arial"/>
              </a:endParaRPr>
            </a:p>
          </p:txBody>
        </p:sp>
        <p:pic>
          <p:nvPicPr>
            <p:cNvPr id="305" name="Bilde 304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750851" y="4319662"/>
              <a:ext cx="333553" cy="416941"/>
            </a:xfrm>
            <a:prstGeom prst="rect">
              <a:avLst/>
            </a:prstGeom>
          </p:spPr>
        </p:pic>
        <p:pic>
          <p:nvPicPr>
            <p:cNvPr id="306" name="Bilde 305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985032" y="4106345"/>
              <a:ext cx="308741" cy="411655"/>
            </a:xfrm>
            <a:prstGeom prst="rect">
              <a:avLst/>
            </a:prstGeom>
          </p:spPr>
        </p:pic>
      </p:grpSp>
      <p:grpSp>
        <p:nvGrpSpPr>
          <p:cNvPr id="307" name="Gruppe 306"/>
          <p:cNvGrpSpPr/>
          <p:nvPr/>
        </p:nvGrpSpPr>
        <p:grpSpPr>
          <a:xfrm>
            <a:off x="3949792" y="3918832"/>
            <a:ext cx="350830" cy="350830"/>
            <a:chOff x="2584178" y="3995936"/>
            <a:chExt cx="839055" cy="839055"/>
          </a:xfrm>
        </p:grpSpPr>
        <p:sp>
          <p:nvSpPr>
            <p:cNvPr id="308" name="Ellipse 307"/>
            <p:cNvSpPr/>
            <p:nvPr/>
          </p:nvSpPr>
          <p:spPr>
            <a:xfrm>
              <a:off x="2584178" y="3995936"/>
              <a:ext cx="839055" cy="83905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09" fontAlgn="base">
                <a:spcBef>
                  <a:spcPct val="0"/>
                </a:spcBef>
                <a:spcAft>
                  <a:spcPct val="0"/>
                </a:spcAft>
              </a:pPr>
              <a:endParaRPr lang="nb-NO" sz="1350">
                <a:solidFill>
                  <a:prstClr val="white"/>
                </a:solidFill>
                <a:latin typeface="Arial"/>
              </a:endParaRPr>
            </a:p>
          </p:txBody>
        </p:sp>
        <p:pic>
          <p:nvPicPr>
            <p:cNvPr id="309" name="Bilde 308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750851" y="4319662"/>
              <a:ext cx="333553" cy="416941"/>
            </a:xfrm>
            <a:prstGeom prst="rect">
              <a:avLst/>
            </a:prstGeom>
          </p:spPr>
        </p:pic>
        <p:pic>
          <p:nvPicPr>
            <p:cNvPr id="310" name="Bilde 309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985032" y="4106345"/>
              <a:ext cx="308741" cy="411655"/>
            </a:xfrm>
            <a:prstGeom prst="rect">
              <a:avLst/>
            </a:prstGeom>
          </p:spPr>
        </p:pic>
      </p:grpSp>
      <p:sp>
        <p:nvSpPr>
          <p:cNvPr id="311" name="Ellipse 310"/>
          <p:cNvSpPr/>
          <p:nvPr/>
        </p:nvSpPr>
        <p:spPr>
          <a:xfrm>
            <a:off x="3677597" y="2395710"/>
            <a:ext cx="2446576" cy="2446576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09" fontAlgn="base">
              <a:spcBef>
                <a:spcPct val="0"/>
              </a:spcBef>
              <a:spcAft>
                <a:spcPct val="0"/>
              </a:spcAft>
            </a:pPr>
            <a:endParaRPr lang="nb-NO" sz="1350">
              <a:solidFill>
                <a:prstClr val="white"/>
              </a:solidFill>
              <a:latin typeface="Arial"/>
            </a:endParaRPr>
          </a:p>
        </p:txBody>
      </p:sp>
      <p:grpSp>
        <p:nvGrpSpPr>
          <p:cNvPr id="312" name="Gruppe 311"/>
          <p:cNvGrpSpPr/>
          <p:nvPr/>
        </p:nvGrpSpPr>
        <p:grpSpPr>
          <a:xfrm>
            <a:off x="3863977" y="2967082"/>
            <a:ext cx="377412" cy="377412"/>
            <a:chOff x="2584178" y="3995936"/>
            <a:chExt cx="839055" cy="839055"/>
          </a:xfrm>
        </p:grpSpPr>
        <p:sp>
          <p:nvSpPr>
            <p:cNvPr id="313" name="Ellipse 312"/>
            <p:cNvSpPr/>
            <p:nvPr/>
          </p:nvSpPr>
          <p:spPr>
            <a:xfrm>
              <a:off x="2584178" y="3995936"/>
              <a:ext cx="839055" cy="83905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09" fontAlgn="base">
                <a:spcBef>
                  <a:spcPct val="0"/>
                </a:spcBef>
                <a:spcAft>
                  <a:spcPct val="0"/>
                </a:spcAft>
              </a:pPr>
              <a:endParaRPr lang="nb-NO" sz="1350">
                <a:solidFill>
                  <a:prstClr val="white"/>
                </a:solidFill>
                <a:latin typeface="Arial"/>
              </a:endParaRPr>
            </a:p>
          </p:txBody>
        </p:sp>
        <p:pic>
          <p:nvPicPr>
            <p:cNvPr id="314" name="Bilde 313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750851" y="4319662"/>
              <a:ext cx="333553" cy="416941"/>
            </a:xfrm>
            <a:prstGeom prst="rect">
              <a:avLst/>
            </a:prstGeom>
          </p:spPr>
        </p:pic>
        <p:pic>
          <p:nvPicPr>
            <p:cNvPr id="315" name="Bilde 314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985032" y="4106345"/>
              <a:ext cx="308741" cy="411655"/>
            </a:xfrm>
            <a:prstGeom prst="rect">
              <a:avLst/>
            </a:prstGeom>
          </p:spPr>
        </p:pic>
      </p:grpSp>
      <p:grpSp>
        <p:nvGrpSpPr>
          <p:cNvPr id="316" name="Gruppe 315"/>
          <p:cNvGrpSpPr/>
          <p:nvPr/>
        </p:nvGrpSpPr>
        <p:grpSpPr>
          <a:xfrm>
            <a:off x="5559202" y="3268467"/>
            <a:ext cx="475047" cy="475047"/>
            <a:chOff x="2584178" y="3995936"/>
            <a:chExt cx="839055" cy="839055"/>
          </a:xfrm>
        </p:grpSpPr>
        <p:sp>
          <p:nvSpPr>
            <p:cNvPr id="317" name="Ellipse 316"/>
            <p:cNvSpPr/>
            <p:nvPr/>
          </p:nvSpPr>
          <p:spPr>
            <a:xfrm>
              <a:off x="2584178" y="3995936"/>
              <a:ext cx="839055" cy="83905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09" fontAlgn="base">
                <a:spcBef>
                  <a:spcPct val="0"/>
                </a:spcBef>
                <a:spcAft>
                  <a:spcPct val="0"/>
                </a:spcAft>
              </a:pPr>
              <a:endParaRPr lang="nb-NO" sz="1350">
                <a:solidFill>
                  <a:prstClr val="white"/>
                </a:solidFill>
                <a:latin typeface="Arial"/>
              </a:endParaRPr>
            </a:p>
          </p:txBody>
        </p:sp>
        <p:pic>
          <p:nvPicPr>
            <p:cNvPr id="318" name="Bilde 317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750851" y="4319662"/>
              <a:ext cx="333553" cy="416941"/>
            </a:xfrm>
            <a:prstGeom prst="rect">
              <a:avLst/>
            </a:prstGeom>
          </p:spPr>
        </p:pic>
        <p:pic>
          <p:nvPicPr>
            <p:cNvPr id="319" name="Bilde 318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985032" y="4106345"/>
              <a:ext cx="308741" cy="411655"/>
            </a:xfrm>
            <a:prstGeom prst="rect">
              <a:avLst/>
            </a:prstGeom>
          </p:spPr>
        </p:pic>
      </p:grpSp>
      <p:grpSp>
        <p:nvGrpSpPr>
          <p:cNvPr id="320" name="Gruppe 319"/>
          <p:cNvGrpSpPr/>
          <p:nvPr/>
        </p:nvGrpSpPr>
        <p:grpSpPr>
          <a:xfrm>
            <a:off x="5188622" y="4146406"/>
            <a:ext cx="475047" cy="475047"/>
            <a:chOff x="2584178" y="3995936"/>
            <a:chExt cx="839055" cy="839055"/>
          </a:xfrm>
        </p:grpSpPr>
        <p:sp>
          <p:nvSpPr>
            <p:cNvPr id="321" name="Ellipse 320"/>
            <p:cNvSpPr/>
            <p:nvPr/>
          </p:nvSpPr>
          <p:spPr>
            <a:xfrm>
              <a:off x="2584178" y="3995936"/>
              <a:ext cx="839055" cy="83905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09" fontAlgn="base">
                <a:spcBef>
                  <a:spcPct val="0"/>
                </a:spcBef>
                <a:spcAft>
                  <a:spcPct val="0"/>
                </a:spcAft>
              </a:pPr>
              <a:endParaRPr lang="nb-NO" sz="1350">
                <a:solidFill>
                  <a:prstClr val="white"/>
                </a:solidFill>
                <a:latin typeface="Arial"/>
              </a:endParaRPr>
            </a:p>
          </p:txBody>
        </p:sp>
        <p:pic>
          <p:nvPicPr>
            <p:cNvPr id="322" name="Bilde 321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750851" y="4319662"/>
              <a:ext cx="333553" cy="416941"/>
            </a:xfrm>
            <a:prstGeom prst="rect">
              <a:avLst/>
            </a:prstGeom>
          </p:spPr>
        </p:pic>
        <p:pic>
          <p:nvPicPr>
            <p:cNvPr id="323" name="Bilde 322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985032" y="4106345"/>
              <a:ext cx="308741" cy="411655"/>
            </a:xfrm>
            <a:prstGeom prst="rect">
              <a:avLst/>
            </a:prstGeom>
          </p:spPr>
        </p:pic>
      </p:grpSp>
      <p:grpSp>
        <p:nvGrpSpPr>
          <p:cNvPr id="324" name="Gruppe 323"/>
          <p:cNvGrpSpPr/>
          <p:nvPr/>
        </p:nvGrpSpPr>
        <p:grpSpPr>
          <a:xfrm>
            <a:off x="4444746" y="2812245"/>
            <a:ext cx="475047" cy="475047"/>
            <a:chOff x="2584178" y="3995936"/>
            <a:chExt cx="839055" cy="839055"/>
          </a:xfrm>
        </p:grpSpPr>
        <p:sp>
          <p:nvSpPr>
            <p:cNvPr id="325" name="Ellipse 324"/>
            <p:cNvSpPr/>
            <p:nvPr/>
          </p:nvSpPr>
          <p:spPr>
            <a:xfrm>
              <a:off x="2584178" y="3995936"/>
              <a:ext cx="839055" cy="83905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09" fontAlgn="base">
                <a:spcBef>
                  <a:spcPct val="0"/>
                </a:spcBef>
                <a:spcAft>
                  <a:spcPct val="0"/>
                </a:spcAft>
              </a:pPr>
              <a:endParaRPr lang="nb-NO" sz="1350">
                <a:solidFill>
                  <a:prstClr val="white"/>
                </a:solidFill>
                <a:latin typeface="Arial"/>
              </a:endParaRPr>
            </a:p>
          </p:txBody>
        </p:sp>
        <p:pic>
          <p:nvPicPr>
            <p:cNvPr id="326" name="Bilde 325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750851" y="4319662"/>
              <a:ext cx="333553" cy="416941"/>
            </a:xfrm>
            <a:prstGeom prst="rect">
              <a:avLst/>
            </a:prstGeom>
          </p:spPr>
        </p:pic>
        <p:pic>
          <p:nvPicPr>
            <p:cNvPr id="327" name="Bilde 326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985032" y="4106345"/>
              <a:ext cx="308741" cy="411655"/>
            </a:xfrm>
            <a:prstGeom prst="rect">
              <a:avLst/>
            </a:prstGeom>
          </p:spPr>
        </p:pic>
      </p:grpSp>
      <p:grpSp>
        <p:nvGrpSpPr>
          <p:cNvPr id="328" name="Gruppe 327"/>
          <p:cNvGrpSpPr/>
          <p:nvPr/>
        </p:nvGrpSpPr>
        <p:grpSpPr>
          <a:xfrm>
            <a:off x="4673059" y="2477670"/>
            <a:ext cx="286175" cy="286175"/>
            <a:chOff x="2584178" y="3995936"/>
            <a:chExt cx="839055" cy="839055"/>
          </a:xfrm>
        </p:grpSpPr>
        <p:sp>
          <p:nvSpPr>
            <p:cNvPr id="329" name="Ellipse 328"/>
            <p:cNvSpPr/>
            <p:nvPr/>
          </p:nvSpPr>
          <p:spPr>
            <a:xfrm>
              <a:off x="2584178" y="3995936"/>
              <a:ext cx="839055" cy="83905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09" fontAlgn="base">
                <a:spcBef>
                  <a:spcPct val="0"/>
                </a:spcBef>
                <a:spcAft>
                  <a:spcPct val="0"/>
                </a:spcAft>
              </a:pPr>
              <a:endParaRPr lang="nb-NO" sz="1350">
                <a:solidFill>
                  <a:prstClr val="white"/>
                </a:solidFill>
                <a:latin typeface="Arial"/>
              </a:endParaRPr>
            </a:p>
          </p:txBody>
        </p:sp>
        <p:pic>
          <p:nvPicPr>
            <p:cNvPr id="330" name="Bilde 329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750851" y="4319662"/>
              <a:ext cx="333553" cy="416941"/>
            </a:xfrm>
            <a:prstGeom prst="rect">
              <a:avLst/>
            </a:prstGeom>
          </p:spPr>
        </p:pic>
        <p:pic>
          <p:nvPicPr>
            <p:cNvPr id="331" name="Bilde 330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985032" y="4106345"/>
              <a:ext cx="308741" cy="411655"/>
            </a:xfrm>
            <a:prstGeom prst="rect">
              <a:avLst/>
            </a:prstGeom>
          </p:spPr>
        </p:pic>
      </p:grpSp>
      <p:grpSp>
        <p:nvGrpSpPr>
          <p:cNvPr id="332" name="Gruppe 331"/>
          <p:cNvGrpSpPr/>
          <p:nvPr/>
        </p:nvGrpSpPr>
        <p:grpSpPr>
          <a:xfrm>
            <a:off x="5158945" y="3421759"/>
            <a:ext cx="286175" cy="286175"/>
            <a:chOff x="2584178" y="3995936"/>
            <a:chExt cx="839055" cy="839055"/>
          </a:xfrm>
        </p:grpSpPr>
        <p:sp>
          <p:nvSpPr>
            <p:cNvPr id="333" name="Ellipse 332"/>
            <p:cNvSpPr/>
            <p:nvPr/>
          </p:nvSpPr>
          <p:spPr>
            <a:xfrm>
              <a:off x="2584178" y="3995936"/>
              <a:ext cx="839055" cy="83905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09" fontAlgn="base">
                <a:spcBef>
                  <a:spcPct val="0"/>
                </a:spcBef>
                <a:spcAft>
                  <a:spcPct val="0"/>
                </a:spcAft>
              </a:pPr>
              <a:endParaRPr lang="nb-NO" sz="1350">
                <a:solidFill>
                  <a:prstClr val="white"/>
                </a:solidFill>
                <a:latin typeface="Arial"/>
              </a:endParaRPr>
            </a:p>
          </p:txBody>
        </p:sp>
        <p:pic>
          <p:nvPicPr>
            <p:cNvPr id="334" name="Bilde 333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750851" y="4319662"/>
              <a:ext cx="333553" cy="416941"/>
            </a:xfrm>
            <a:prstGeom prst="rect">
              <a:avLst/>
            </a:prstGeom>
          </p:spPr>
        </p:pic>
        <p:pic>
          <p:nvPicPr>
            <p:cNvPr id="335" name="Bilde 334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985032" y="4106345"/>
              <a:ext cx="308741" cy="411655"/>
            </a:xfrm>
            <a:prstGeom prst="rect">
              <a:avLst/>
            </a:prstGeom>
          </p:spPr>
        </p:pic>
      </p:grpSp>
      <p:grpSp>
        <p:nvGrpSpPr>
          <p:cNvPr id="336" name="Gruppe 335"/>
          <p:cNvGrpSpPr/>
          <p:nvPr/>
        </p:nvGrpSpPr>
        <p:grpSpPr>
          <a:xfrm>
            <a:off x="4312844" y="4337056"/>
            <a:ext cx="286175" cy="286175"/>
            <a:chOff x="2584178" y="3995936"/>
            <a:chExt cx="839055" cy="839055"/>
          </a:xfrm>
        </p:grpSpPr>
        <p:sp>
          <p:nvSpPr>
            <p:cNvPr id="337" name="Ellipse 336"/>
            <p:cNvSpPr/>
            <p:nvPr/>
          </p:nvSpPr>
          <p:spPr>
            <a:xfrm>
              <a:off x="2584178" y="3995936"/>
              <a:ext cx="839055" cy="83905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09" fontAlgn="base">
                <a:spcBef>
                  <a:spcPct val="0"/>
                </a:spcBef>
                <a:spcAft>
                  <a:spcPct val="0"/>
                </a:spcAft>
              </a:pPr>
              <a:endParaRPr lang="nb-NO" sz="1350">
                <a:solidFill>
                  <a:prstClr val="white"/>
                </a:solidFill>
                <a:latin typeface="Arial"/>
              </a:endParaRPr>
            </a:p>
          </p:txBody>
        </p:sp>
        <p:pic>
          <p:nvPicPr>
            <p:cNvPr id="338" name="Bilde 337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750851" y="4319662"/>
              <a:ext cx="333553" cy="416941"/>
            </a:xfrm>
            <a:prstGeom prst="rect">
              <a:avLst/>
            </a:prstGeom>
          </p:spPr>
        </p:pic>
        <p:pic>
          <p:nvPicPr>
            <p:cNvPr id="339" name="Bilde 338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985032" y="4106345"/>
              <a:ext cx="308741" cy="411655"/>
            </a:xfrm>
            <a:prstGeom prst="rect">
              <a:avLst/>
            </a:prstGeom>
          </p:spPr>
        </p:pic>
      </p:grpSp>
      <p:grpSp>
        <p:nvGrpSpPr>
          <p:cNvPr id="340" name="Gruppe 339"/>
          <p:cNvGrpSpPr/>
          <p:nvPr/>
        </p:nvGrpSpPr>
        <p:grpSpPr>
          <a:xfrm>
            <a:off x="5598637" y="3814686"/>
            <a:ext cx="286175" cy="286175"/>
            <a:chOff x="2584178" y="3995936"/>
            <a:chExt cx="839055" cy="839055"/>
          </a:xfrm>
        </p:grpSpPr>
        <p:sp>
          <p:nvSpPr>
            <p:cNvPr id="341" name="Ellipse 340"/>
            <p:cNvSpPr/>
            <p:nvPr/>
          </p:nvSpPr>
          <p:spPr>
            <a:xfrm>
              <a:off x="2584178" y="3995936"/>
              <a:ext cx="839055" cy="83905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09" fontAlgn="base">
                <a:spcBef>
                  <a:spcPct val="0"/>
                </a:spcBef>
                <a:spcAft>
                  <a:spcPct val="0"/>
                </a:spcAft>
              </a:pPr>
              <a:endParaRPr lang="nb-NO" sz="1350">
                <a:solidFill>
                  <a:prstClr val="white"/>
                </a:solidFill>
                <a:latin typeface="Arial"/>
              </a:endParaRPr>
            </a:p>
          </p:txBody>
        </p:sp>
        <p:pic>
          <p:nvPicPr>
            <p:cNvPr id="342" name="Bilde 341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750851" y="4319662"/>
              <a:ext cx="333553" cy="416941"/>
            </a:xfrm>
            <a:prstGeom prst="rect">
              <a:avLst/>
            </a:prstGeom>
          </p:spPr>
        </p:pic>
        <p:pic>
          <p:nvPicPr>
            <p:cNvPr id="343" name="Bilde 342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985032" y="4106345"/>
              <a:ext cx="308741" cy="411655"/>
            </a:xfrm>
            <a:prstGeom prst="rect">
              <a:avLst/>
            </a:prstGeom>
          </p:spPr>
        </p:pic>
      </p:grpSp>
      <p:grpSp>
        <p:nvGrpSpPr>
          <p:cNvPr id="344" name="Gruppe 343"/>
          <p:cNvGrpSpPr/>
          <p:nvPr/>
        </p:nvGrpSpPr>
        <p:grpSpPr>
          <a:xfrm>
            <a:off x="5530757" y="2813747"/>
            <a:ext cx="286175" cy="286175"/>
            <a:chOff x="2584178" y="3995936"/>
            <a:chExt cx="839055" cy="839055"/>
          </a:xfrm>
        </p:grpSpPr>
        <p:sp>
          <p:nvSpPr>
            <p:cNvPr id="345" name="Ellipse 344"/>
            <p:cNvSpPr/>
            <p:nvPr/>
          </p:nvSpPr>
          <p:spPr>
            <a:xfrm>
              <a:off x="2584178" y="3995936"/>
              <a:ext cx="839055" cy="83905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09" fontAlgn="base">
                <a:spcBef>
                  <a:spcPct val="0"/>
                </a:spcBef>
                <a:spcAft>
                  <a:spcPct val="0"/>
                </a:spcAft>
              </a:pPr>
              <a:endParaRPr lang="nb-NO" sz="1350">
                <a:solidFill>
                  <a:prstClr val="white"/>
                </a:solidFill>
                <a:latin typeface="Arial"/>
              </a:endParaRPr>
            </a:p>
          </p:txBody>
        </p:sp>
        <p:pic>
          <p:nvPicPr>
            <p:cNvPr id="346" name="Bilde 345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750851" y="4319662"/>
              <a:ext cx="333553" cy="416941"/>
            </a:xfrm>
            <a:prstGeom prst="rect">
              <a:avLst/>
            </a:prstGeom>
          </p:spPr>
        </p:pic>
        <p:pic>
          <p:nvPicPr>
            <p:cNvPr id="347" name="Bilde 346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985032" y="4106345"/>
              <a:ext cx="308741" cy="411655"/>
            </a:xfrm>
            <a:prstGeom prst="rect">
              <a:avLst/>
            </a:prstGeom>
          </p:spPr>
        </p:pic>
      </p:grpSp>
      <p:sp>
        <p:nvSpPr>
          <p:cNvPr id="165" name="Friform 164"/>
          <p:cNvSpPr/>
          <p:nvPr/>
        </p:nvSpPr>
        <p:spPr>
          <a:xfrm rot="12992077">
            <a:off x="3616175" y="3671791"/>
            <a:ext cx="1071057" cy="169435"/>
          </a:xfrm>
          <a:custGeom>
            <a:avLst/>
            <a:gdLst>
              <a:gd name="connsiteX0" fmla="*/ 0 w 1206500"/>
              <a:gd name="connsiteY0" fmla="*/ 0 h 482900"/>
              <a:gd name="connsiteX1" fmla="*/ 393700 w 1206500"/>
              <a:gd name="connsiteY1" fmla="*/ 482600 h 482900"/>
              <a:gd name="connsiteX2" fmla="*/ 787400 w 1206500"/>
              <a:gd name="connsiteY2" fmla="*/ 76200 h 482900"/>
              <a:gd name="connsiteX3" fmla="*/ 1206500 w 1206500"/>
              <a:gd name="connsiteY3" fmla="*/ 330200 h 48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06500" h="482900">
                <a:moveTo>
                  <a:pt x="0" y="0"/>
                </a:moveTo>
                <a:cubicBezTo>
                  <a:pt x="131233" y="234950"/>
                  <a:pt x="262467" y="469900"/>
                  <a:pt x="393700" y="482600"/>
                </a:cubicBezTo>
                <a:cubicBezTo>
                  <a:pt x="524933" y="495300"/>
                  <a:pt x="651933" y="101600"/>
                  <a:pt x="787400" y="76200"/>
                </a:cubicBezTo>
                <a:cubicBezTo>
                  <a:pt x="922867" y="50800"/>
                  <a:pt x="1206500" y="330200"/>
                  <a:pt x="1206500" y="330200"/>
                </a:cubicBezTo>
              </a:path>
            </a:pathLst>
          </a:custGeom>
          <a:noFill/>
          <a:ln w="38100">
            <a:solidFill>
              <a:srgbClr val="ED0B2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09" fontAlgn="base">
              <a:spcBef>
                <a:spcPct val="0"/>
              </a:spcBef>
              <a:spcAft>
                <a:spcPct val="0"/>
              </a:spcAft>
            </a:pPr>
            <a:endParaRPr lang="nb-NO" sz="1350">
              <a:solidFill>
                <a:prstClr val="white"/>
              </a:solidFill>
              <a:latin typeface="Arial"/>
            </a:endParaRPr>
          </a:p>
        </p:txBody>
      </p:sp>
      <p:sp>
        <p:nvSpPr>
          <p:cNvPr id="349" name="Rektangel 348"/>
          <p:cNvSpPr/>
          <p:nvPr/>
        </p:nvSpPr>
        <p:spPr>
          <a:xfrm>
            <a:off x="3516813" y="5036977"/>
            <a:ext cx="2868094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685709" fontAlgn="base">
              <a:spcBef>
                <a:spcPct val="0"/>
              </a:spcBef>
              <a:spcAft>
                <a:spcPct val="0"/>
              </a:spcAft>
            </a:pPr>
            <a:r>
              <a:rPr lang="nb-NO" sz="1350" dirty="0">
                <a:solidFill>
                  <a:prstClr val="black"/>
                </a:solidFill>
                <a:latin typeface="Arial" charset="0"/>
                <a:ea typeface="MS PGothic" charset="0"/>
              </a:rPr>
              <a:t>IDENTIFISERE UTFORDRINGER </a:t>
            </a:r>
          </a:p>
          <a:p>
            <a:pPr algn="ctr" defTabSz="685709" fontAlgn="base">
              <a:spcBef>
                <a:spcPct val="0"/>
              </a:spcBef>
              <a:spcAft>
                <a:spcPct val="0"/>
              </a:spcAft>
            </a:pPr>
            <a:r>
              <a:rPr lang="nb-NO" sz="1350" dirty="0">
                <a:solidFill>
                  <a:prstClr val="black"/>
                </a:solidFill>
                <a:latin typeface="Arial" charset="0"/>
                <a:ea typeface="MS PGothic" charset="0"/>
              </a:rPr>
              <a:t>OG ÅRSAKER</a:t>
            </a:r>
          </a:p>
        </p:txBody>
      </p:sp>
    </p:spTree>
    <p:extLst>
      <p:ext uri="{BB962C8B-B14F-4D97-AF65-F5344CB8AC3E}">
        <p14:creationId xmlns:p14="http://schemas.microsoft.com/office/powerpoint/2010/main" val="189649231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De fremste barrierene i dagens smartbyutvikling</a:t>
            </a:r>
            <a:endParaRPr lang="nb-NO" sz="1800" b="0" dirty="0"/>
          </a:p>
        </p:txBody>
      </p:sp>
      <p:grpSp>
        <p:nvGrpSpPr>
          <p:cNvPr id="8" name="Gruppe 7"/>
          <p:cNvGrpSpPr/>
          <p:nvPr/>
        </p:nvGrpSpPr>
        <p:grpSpPr>
          <a:xfrm>
            <a:off x="6906011" y="4563015"/>
            <a:ext cx="610320" cy="987873"/>
            <a:chOff x="8795378" y="2297420"/>
            <a:chExt cx="989600" cy="1601782"/>
          </a:xfrm>
        </p:grpSpPr>
        <p:sp>
          <p:nvSpPr>
            <p:cNvPr id="9" name="TekstSylinder 8"/>
            <p:cNvSpPr txBox="1"/>
            <p:nvPr/>
          </p:nvSpPr>
          <p:spPr>
            <a:xfrm>
              <a:off x="8805796" y="3131924"/>
              <a:ext cx="979182" cy="76727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709" fontAlgn="base">
                <a:spcBef>
                  <a:spcPct val="0"/>
                </a:spcBef>
                <a:spcAft>
                  <a:spcPct val="0"/>
                </a:spcAft>
              </a:pPr>
              <a:r>
                <a:rPr lang="nb-NO" sz="825" dirty="0">
                  <a:solidFill>
                    <a:prstClr val="black"/>
                  </a:solidFill>
                  <a:latin typeface="Arial" charset="0"/>
                  <a:ea typeface="MS PGothic" charset="0"/>
                </a:rPr>
                <a:t>RISIKO-</a:t>
              </a:r>
            </a:p>
            <a:p>
              <a:pPr defTabSz="685709" fontAlgn="base">
                <a:spcBef>
                  <a:spcPct val="0"/>
                </a:spcBef>
                <a:spcAft>
                  <a:spcPct val="0"/>
                </a:spcAft>
              </a:pPr>
              <a:r>
                <a:rPr lang="nb-NO" sz="825" dirty="0">
                  <a:solidFill>
                    <a:prstClr val="black"/>
                  </a:solidFill>
                  <a:latin typeface="Arial" charset="0"/>
                  <a:ea typeface="MS PGothic" charset="0"/>
                </a:rPr>
                <a:t>KAPITAL</a:t>
              </a:r>
            </a:p>
          </p:txBody>
        </p:sp>
        <p:grpSp>
          <p:nvGrpSpPr>
            <p:cNvPr id="10" name="Gruppe 9"/>
            <p:cNvGrpSpPr/>
            <p:nvPr/>
          </p:nvGrpSpPr>
          <p:grpSpPr>
            <a:xfrm>
              <a:off x="8795378" y="2297420"/>
              <a:ext cx="839055" cy="839055"/>
              <a:chOff x="8795378" y="2362638"/>
              <a:chExt cx="839055" cy="839055"/>
            </a:xfrm>
          </p:grpSpPr>
          <p:sp>
            <p:nvSpPr>
              <p:cNvPr id="11" name="Ellipse 10"/>
              <p:cNvSpPr/>
              <p:nvPr/>
            </p:nvSpPr>
            <p:spPr>
              <a:xfrm>
                <a:off x="8795378" y="2362638"/>
                <a:ext cx="839055" cy="839055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0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b-NO" sz="1350">
                  <a:solidFill>
                    <a:prstClr val="white"/>
                  </a:solidFill>
                  <a:latin typeface="Arial"/>
                </a:endParaRPr>
              </a:p>
            </p:txBody>
          </p:sp>
          <p:pic>
            <p:nvPicPr>
              <p:cNvPr id="12" name="Bilde 11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9002008" y="2509488"/>
                <a:ext cx="435937" cy="217969"/>
              </a:xfrm>
              <a:prstGeom prst="rect">
                <a:avLst/>
              </a:prstGeom>
            </p:spPr>
          </p:pic>
          <p:pic>
            <p:nvPicPr>
              <p:cNvPr id="13" name="Bilde 12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9050853" y="2765489"/>
                <a:ext cx="367467" cy="367467"/>
              </a:xfrm>
              <a:prstGeom prst="rect">
                <a:avLst/>
              </a:prstGeom>
            </p:spPr>
          </p:pic>
        </p:grpSp>
      </p:grpSp>
      <p:grpSp>
        <p:nvGrpSpPr>
          <p:cNvPr id="14" name="Gruppe 13"/>
          <p:cNvGrpSpPr/>
          <p:nvPr/>
        </p:nvGrpSpPr>
        <p:grpSpPr>
          <a:xfrm>
            <a:off x="2088570" y="2026486"/>
            <a:ext cx="1136638" cy="839376"/>
            <a:chOff x="2208629" y="2297420"/>
            <a:chExt cx="1923498" cy="1420452"/>
          </a:xfrm>
        </p:grpSpPr>
        <p:sp>
          <p:nvSpPr>
            <p:cNvPr id="15" name="TekstSylinder 14"/>
            <p:cNvSpPr txBox="1"/>
            <p:nvPr/>
          </p:nvSpPr>
          <p:spPr>
            <a:xfrm>
              <a:off x="2208629" y="3131925"/>
              <a:ext cx="1923498" cy="58594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709" fontAlgn="base">
                <a:spcBef>
                  <a:spcPct val="0"/>
                </a:spcBef>
                <a:spcAft>
                  <a:spcPct val="0"/>
                </a:spcAft>
              </a:pPr>
              <a:r>
                <a:rPr lang="nb-NO" sz="825" dirty="0">
                  <a:solidFill>
                    <a:prstClr val="black"/>
                  </a:solidFill>
                  <a:latin typeface="Arial" charset="0"/>
                  <a:ea typeface="MS PGothic" charset="0"/>
                </a:rPr>
                <a:t>FORSKNING OG UTDANNING</a:t>
              </a:r>
            </a:p>
          </p:txBody>
        </p:sp>
        <p:grpSp>
          <p:nvGrpSpPr>
            <p:cNvPr id="16" name="Gruppe 15"/>
            <p:cNvGrpSpPr/>
            <p:nvPr/>
          </p:nvGrpSpPr>
          <p:grpSpPr>
            <a:xfrm>
              <a:off x="2778462" y="2297420"/>
              <a:ext cx="839055" cy="839055"/>
              <a:chOff x="5073596" y="2014502"/>
              <a:chExt cx="839055" cy="839055"/>
            </a:xfrm>
          </p:grpSpPr>
          <p:sp>
            <p:nvSpPr>
              <p:cNvPr id="17" name="Ellipse 16"/>
              <p:cNvSpPr/>
              <p:nvPr/>
            </p:nvSpPr>
            <p:spPr>
              <a:xfrm>
                <a:off x="5073596" y="2014502"/>
                <a:ext cx="839055" cy="839055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0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b-NO" sz="1350">
                  <a:solidFill>
                    <a:prstClr val="white"/>
                  </a:solidFill>
                  <a:latin typeface="Arial"/>
                </a:endParaRPr>
              </a:p>
            </p:txBody>
          </p:sp>
          <p:pic>
            <p:nvPicPr>
              <p:cNvPr id="18" name="Bilde 17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5191647" y="2126346"/>
                <a:ext cx="275503" cy="344379"/>
              </a:xfrm>
              <a:prstGeom prst="rect">
                <a:avLst/>
              </a:prstGeom>
            </p:spPr>
          </p:pic>
          <p:pic>
            <p:nvPicPr>
              <p:cNvPr id="19" name="Bilde 18"/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337935" y="2426964"/>
                <a:ext cx="442410" cy="331807"/>
              </a:xfrm>
              <a:prstGeom prst="rect">
                <a:avLst/>
              </a:prstGeom>
            </p:spPr>
          </p:pic>
        </p:grpSp>
      </p:grpSp>
      <p:grpSp>
        <p:nvGrpSpPr>
          <p:cNvPr id="20" name="Gruppe 19"/>
          <p:cNvGrpSpPr/>
          <p:nvPr/>
        </p:nvGrpSpPr>
        <p:grpSpPr>
          <a:xfrm>
            <a:off x="2147724" y="4563015"/>
            <a:ext cx="1018331" cy="728131"/>
            <a:chOff x="631085" y="2297420"/>
            <a:chExt cx="1670079" cy="1194147"/>
          </a:xfrm>
        </p:grpSpPr>
        <p:sp>
          <p:nvSpPr>
            <p:cNvPr id="21" name="TekstSylinder 20"/>
            <p:cNvSpPr txBox="1"/>
            <p:nvPr/>
          </p:nvSpPr>
          <p:spPr>
            <a:xfrm>
              <a:off x="631085" y="3131926"/>
              <a:ext cx="1670079" cy="3596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709" fontAlgn="base">
                <a:spcBef>
                  <a:spcPct val="0"/>
                </a:spcBef>
                <a:spcAft>
                  <a:spcPct val="0"/>
                </a:spcAft>
              </a:pPr>
              <a:r>
                <a:rPr lang="nb-NO" sz="825" dirty="0">
                  <a:solidFill>
                    <a:prstClr val="black"/>
                  </a:solidFill>
                  <a:latin typeface="Arial" charset="0"/>
                  <a:ea typeface="MS PGothic" charset="0"/>
                </a:rPr>
                <a:t>GRÜNDERE</a:t>
              </a:r>
            </a:p>
          </p:txBody>
        </p:sp>
        <p:grpSp>
          <p:nvGrpSpPr>
            <p:cNvPr id="22" name="Gruppe 21"/>
            <p:cNvGrpSpPr/>
            <p:nvPr/>
          </p:nvGrpSpPr>
          <p:grpSpPr>
            <a:xfrm>
              <a:off x="1046598" y="2297420"/>
              <a:ext cx="839055" cy="839055"/>
              <a:chOff x="1046598" y="2297420"/>
              <a:chExt cx="839055" cy="839055"/>
            </a:xfrm>
          </p:grpSpPr>
          <p:sp>
            <p:nvSpPr>
              <p:cNvPr id="23" name="Ellipse 22"/>
              <p:cNvSpPr/>
              <p:nvPr/>
            </p:nvSpPr>
            <p:spPr>
              <a:xfrm>
                <a:off x="1046598" y="2297420"/>
                <a:ext cx="839055" cy="839055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0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b-NO" sz="1350">
                  <a:solidFill>
                    <a:prstClr val="white"/>
                  </a:solidFill>
                  <a:latin typeface="Arial"/>
                </a:endParaRPr>
              </a:p>
            </p:txBody>
          </p:sp>
          <p:pic>
            <p:nvPicPr>
              <p:cNvPr id="24" name="Bilde 23"/>
              <p:cNvPicPr>
                <a:picLocks noChangeAspect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53707" y="2431733"/>
                <a:ext cx="628993" cy="602132"/>
              </a:xfrm>
              <a:prstGeom prst="rect">
                <a:avLst/>
              </a:prstGeom>
            </p:spPr>
          </p:pic>
        </p:grpSp>
      </p:grpSp>
      <p:grpSp>
        <p:nvGrpSpPr>
          <p:cNvPr id="25" name="Gruppe 24"/>
          <p:cNvGrpSpPr/>
          <p:nvPr/>
        </p:nvGrpSpPr>
        <p:grpSpPr>
          <a:xfrm>
            <a:off x="6651383" y="2026486"/>
            <a:ext cx="1119575" cy="860916"/>
            <a:chOff x="4022188" y="2312316"/>
            <a:chExt cx="1815329" cy="1395928"/>
          </a:xfrm>
        </p:grpSpPr>
        <p:sp>
          <p:nvSpPr>
            <p:cNvPr id="26" name="TekstSylinder 25"/>
            <p:cNvSpPr txBox="1"/>
            <p:nvPr/>
          </p:nvSpPr>
          <p:spPr>
            <a:xfrm>
              <a:off x="4022188" y="3146820"/>
              <a:ext cx="1815329" cy="5614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709" fontAlgn="base">
                <a:spcBef>
                  <a:spcPct val="0"/>
                </a:spcBef>
                <a:spcAft>
                  <a:spcPct val="0"/>
                </a:spcAft>
              </a:pPr>
              <a:r>
                <a:rPr lang="nb-NO" sz="825" dirty="0">
                  <a:solidFill>
                    <a:prstClr val="black"/>
                  </a:solidFill>
                  <a:latin typeface="Arial" charset="0"/>
                  <a:ea typeface="MS PGothic" charset="0"/>
                </a:rPr>
                <a:t>OFFENTLIGE</a:t>
              </a:r>
            </a:p>
            <a:p>
              <a:pPr algn="ctr" defTabSz="685709" fontAlgn="base">
                <a:spcBef>
                  <a:spcPct val="0"/>
                </a:spcBef>
                <a:spcAft>
                  <a:spcPct val="0"/>
                </a:spcAft>
              </a:pPr>
              <a:r>
                <a:rPr lang="nb-NO" sz="825" dirty="0">
                  <a:solidFill>
                    <a:prstClr val="black"/>
                  </a:solidFill>
                  <a:latin typeface="Arial" charset="0"/>
                  <a:ea typeface="MS PGothic" charset="0"/>
                </a:rPr>
                <a:t>MYNDIGHETER</a:t>
              </a:r>
            </a:p>
          </p:txBody>
        </p:sp>
        <p:grpSp>
          <p:nvGrpSpPr>
            <p:cNvPr id="27" name="Gruppe 26"/>
            <p:cNvGrpSpPr/>
            <p:nvPr/>
          </p:nvGrpSpPr>
          <p:grpSpPr>
            <a:xfrm>
              <a:off x="4510326" y="2312316"/>
              <a:ext cx="839055" cy="839055"/>
              <a:chOff x="9525902" y="2048433"/>
              <a:chExt cx="839055" cy="839055"/>
            </a:xfrm>
          </p:grpSpPr>
          <p:sp>
            <p:nvSpPr>
              <p:cNvPr id="28" name="Ellipse 27"/>
              <p:cNvSpPr/>
              <p:nvPr/>
            </p:nvSpPr>
            <p:spPr>
              <a:xfrm>
                <a:off x="9525902" y="2048433"/>
                <a:ext cx="839055" cy="839055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0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b-NO" sz="1350">
                  <a:solidFill>
                    <a:prstClr val="white"/>
                  </a:solidFill>
                  <a:latin typeface="Arial"/>
                </a:endParaRPr>
              </a:p>
            </p:txBody>
          </p:sp>
          <p:pic>
            <p:nvPicPr>
              <p:cNvPr id="29" name="Bilde 28"/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9662756" y="2246673"/>
                <a:ext cx="380547" cy="380547"/>
              </a:xfrm>
              <a:prstGeom prst="rect">
                <a:avLst/>
              </a:prstGeom>
            </p:spPr>
          </p:pic>
          <p:sp>
            <p:nvSpPr>
              <p:cNvPr id="30" name="TekstSylinder 29"/>
              <p:cNvSpPr txBox="1"/>
              <p:nvPr/>
            </p:nvSpPr>
            <p:spPr>
              <a:xfrm>
                <a:off x="10007339" y="2359351"/>
                <a:ext cx="320384" cy="48656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8570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nb-NO" sz="1350" dirty="0">
                    <a:solidFill>
                      <a:prstClr val="black"/>
                    </a:solidFill>
                    <a:latin typeface="Avenir Next Condensed" charset="0"/>
                    <a:ea typeface="Avenir Next Condensed" charset="0"/>
                    <a:cs typeface="Avenir Next Condensed" charset="0"/>
                  </a:rPr>
                  <a:t>§</a:t>
                </a:r>
              </a:p>
            </p:txBody>
          </p:sp>
        </p:grpSp>
      </p:grpSp>
      <p:cxnSp>
        <p:nvCxnSpPr>
          <p:cNvPr id="7" name="Rett linje 6"/>
          <p:cNvCxnSpPr/>
          <p:nvPr/>
        </p:nvCxnSpPr>
        <p:spPr>
          <a:xfrm>
            <a:off x="3073886" y="2495213"/>
            <a:ext cx="686821" cy="456658"/>
          </a:xfrm>
          <a:prstGeom prst="line">
            <a:avLst/>
          </a:prstGeom>
          <a:ln w="7620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Rett linje 139"/>
          <p:cNvCxnSpPr/>
          <p:nvPr/>
        </p:nvCxnSpPr>
        <p:spPr>
          <a:xfrm flipH="1">
            <a:off x="2940743" y="4216344"/>
            <a:ext cx="658487" cy="409777"/>
          </a:xfrm>
          <a:prstGeom prst="line">
            <a:avLst/>
          </a:prstGeom>
          <a:ln w="7620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Rett linje 142"/>
          <p:cNvCxnSpPr/>
          <p:nvPr/>
        </p:nvCxnSpPr>
        <p:spPr>
          <a:xfrm flipH="1">
            <a:off x="6044065" y="2466292"/>
            <a:ext cx="830187" cy="571500"/>
          </a:xfrm>
          <a:prstGeom prst="line">
            <a:avLst/>
          </a:prstGeom>
          <a:ln w="7620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Rett linje 146"/>
          <p:cNvCxnSpPr/>
          <p:nvPr/>
        </p:nvCxnSpPr>
        <p:spPr>
          <a:xfrm>
            <a:off x="6132790" y="4245401"/>
            <a:ext cx="710445" cy="425129"/>
          </a:xfrm>
          <a:prstGeom prst="line">
            <a:avLst/>
          </a:prstGeom>
          <a:ln w="7620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Bred bue 155"/>
          <p:cNvSpPr/>
          <p:nvPr/>
        </p:nvSpPr>
        <p:spPr>
          <a:xfrm>
            <a:off x="8331891" y="3116656"/>
            <a:ext cx="479783" cy="479783"/>
          </a:xfrm>
          <a:prstGeom prst="blockArc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09" fontAlgn="base">
              <a:spcBef>
                <a:spcPct val="0"/>
              </a:spcBef>
              <a:spcAft>
                <a:spcPct val="0"/>
              </a:spcAft>
            </a:pPr>
            <a:endParaRPr lang="nb-NO" sz="1350">
              <a:solidFill>
                <a:prstClr val="black"/>
              </a:solidFill>
              <a:latin typeface="Arial"/>
            </a:endParaRPr>
          </a:p>
        </p:txBody>
      </p:sp>
      <p:sp>
        <p:nvSpPr>
          <p:cNvPr id="157" name="Bred bue 156"/>
          <p:cNvSpPr/>
          <p:nvPr/>
        </p:nvSpPr>
        <p:spPr>
          <a:xfrm>
            <a:off x="8331891" y="3888025"/>
            <a:ext cx="479783" cy="479783"/>
          </a:xfrm>
          <a:prstGeom prst="blockArc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09" fontAlgn="base">
              <a:spcBef>
                <a:spcPct val="0"/>
              </a:spcBef>
              <a:spcAft>
                <a:spcPct val="0"/>
              </a:spcAft>
            </a:pPr>
            <a:endParaRPr lang="nb-NO" sz="1350">
              <a:solidFill>
                <a:prstClr val="black"/>
              </a:solidFill>
              <a:latin typeface="Arial"/>
            </a:endParaRPr>
          </a:p>
        </p:txBody>
      </p:sp>
      <p:cxnSp>
        <p:nvCxnSpPr>
          <p:cNvPr id="158" name="Rett linje 157"/>
          <p:cNvCxnSpPr/>
          <p:nvPr/>
        </p:nvCxnSpPr>
        <p:spPr>
          <a:xfrm flipH="1">
            <a:off x="7501842" y="3434552"/>
            <a:ext cx="2139881" cy="0"/>
          </a:xfrm>
          <a:prstGeom prst="line">
            <a:avLst/>
          </a:prstGeom>
          <a:ln w="7620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Rett linje 159"/>
          <p:cNvCxnSpPr/>
          <p:nvPr/>
        </p:nvCxnSpPr>
        <p:spPr>
          <a:xfrm flipH="1">
            <a:off x="7501842" y="4216344"/>
            <a:ext cx="2139881" cy="0"/>
          </a:xfrm>
          <a:prstGeom prst="line">
            <a:avLst/>
          </a:prstGeom>
          <a:ln w="7620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Friform 163"/>
          <p:cNvSpPr/>
          <p:nvPr/>
        </p:nvSpPr>
        <p:spPr>
          <a:xfrm rot="7405152">
            <a:off x="4669399" y="3100382"/>
            <a:ext cx="1211429" cy="170798"/>
          </a:xfrm>
          <a:custGeom>
            <a:avLst/>
            <a:gdLst>
              <a:gd name="connsiteX0" fmla="*/ 0 w 1206500"/>
              <a:gd name="connsiteY0" fmla="*/ 0 h 482900"/>
              <a:gd name="connsiteX1" fmla="*/ 393700 w 1206500"/>
              <a:gd name="connsiteY1" fmla="*/ 482600 h 482900"/>
              <a:gd name="connsiteX2" fmla="*/ 787400 w 1206500"/>
              <a:gd name="connsiteY2" fmla="*/ 76200 h 482900"/>
              <a:gd name="connsiteX3" fmla="*/ 1206500 w 1206500"/>
              <a:gd name="connsiteY3" fmla="*/ 330200 h 48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06500" h="482900">
                <a:moveTo>
                  <a:pt x="0" y="0"/>
                </a:moveTo>
                <a:cubicBezTo>
                  <a:pt x="131233" y="234950"/>
                  <a:pt x="262467" y="469900"/>
                  <a:pt x="393700" y="482600"/>
                </a:cubicBezTo>
                <a:cubicBezTo>
                  <a:pt x="524933" y="495300"/>
                  <a:pt x="651933" y="101600"/>
                  <a:pt x="787400" y="76200"/>
                </a:cubicBezTo>
                <a:cubicBezTo>
                  <a:pt x="922867" y="50800"/>
                  <a:pt x="1206500" y="330200"/>
                  <a:pt x="1206500" y="330200"/>
                </a:cubicBezTo>
              </a:path>
            </a:pathLst>
          </a:custGeom>
          <a:noFill/>
          <a:ln w="38100">
            <a:solidFill>
              <a:srgbClr val="ED0B2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09" fontAlgn="base">
              <a:spcBef>
                <a:spcPct val="0"/>
              </a:spcBef>
              <a:spcAft>
                <a:spcPct val="0"/>
              </a:spcAft>
            </a:pPr>
            <a:endParaRPr lang="nb-NO" sz="1350">
              <a:solidFill>
                <a:prstClr val="white"/>
              </a:solidFill>
              <a:latin typeface="Arial"/>
            </a:endParaRPr>
          </a:p>
        </p:txBody>
      </p:sp>
      <p:sp>
        <p:nvSpPr>
          <p:cNvPr id="166" name="Friform 165"/>
          <p:cNvSpPr/>
          <p:nvPr/>
        </p:nvSpPr>
        <p:spPr>
          <a:xfrm rot="7405152">
            <a:off x="4476665" y="4019284"/>
            <a:ext cx="1211429" cy="288012"/>
          </a:xfrm>
          <a:custGeom>
            <a:avLst/>
            <a:gdLst>
              <a:gd name="connsiteX0" fmla="*/ 0 w 1206500"/>
              <a:gd name="connsiteY0" fmla="*/ 0 h 482900"/>
              <a:gd name="connsiteX1" fmla="*/ 393700 w 1206500"/>
              <a:gd name="connsiteY1" fmla="*/ 482600 h 482900"/>
              <a:gd name="connsiteX2" fmla="*/ 787400 w 1206500"/>
              <a:gd name="connsiteY2" fmla="*/ 76200 h 482900"/>
              <a:gd name="connsiteX3" fmla="*/ 1206500 w 1206500"/>
              <a:gd name="connsiteY3" fmla="*/ 330200 h 48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06500" h="482900">
                <a:moveTo>
                  <a:pt x="0" y="0"/>
                </a:moveTo>
                <a:cubicBezTo>
                  <a:pt x="131233" y="234950"/>
                  <a:pt x="262467" y="469900"/>
                  <a:pt x="393700" y="482600"/>
                </a:cubicBezTo>
                <a:cubicBezTo>
                  <a:pt x="524933" y="495300"/>
                  <a:pt x="651933" y="101600"/>
                  <a:pt x="787400" y="76200"/>
                </a:cubicBezTo>
                <a:cubicBezTo>
                  <a:pt x="922867" y="50800"/>
                  <a:pt x="1206500" y="330200"/>
                  <a:pt x="1206500" y="330200"/>
                </a:cubicBezTo>
              </a:path>
            </a:pathLst>
          </a:custGeom>
          <a:noFill/>
          <a:ln w="38100">
            <a:solidFill>
              <a:srgbClr val="ED0B2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09" fontAlgn="base">
              <a:spcBef>
                <a:spcPct val="0"/>
              </a:spcBef>
              <a:spcAft>
                <a:spcPct val="0"/>
              </a:spcAft>
            </a:pPr>
            <a:endParaRPr lang="nb-NO" sz="1350">
              <a:solidFill>
                <a:prstClr val="white"/>
              </a:solidFill>
              <a:latin typeface="Arial"/>
            </a:endParaRPr>
          </a:p>
        </p:txBody>
      </p:sp>
      <p:grpSp>
        <p:nvGrpSpPr>
          <p:cNvPr id="176" name="Gruppe 175"/>
          <p:cNvGrpSpPr/>
          <p:nvPr/>
        </p:nvGrpSpPr>
        <p:grpSpPr>
          <a:xfrm>
            <a:off x="3180123" y="2364703"/>
            <a:ext cx="484723" cy="673770"/>
            <a:chOff x="4240579" y="3152798"/>
            <a:chExt cx="646360" cy="898448"/>
          </a:xfrm>
        </p:grpSpPr>
        <p:cxnSp>
          <p:nvCxnSpPr>
            <p:cNvPr id="169" name="Rett linje 168"/>
            <p:cNvCxnSpPr/>
            <p:nvPr/>
          </p:nvCxnSpPr>
          <p:spPr>
            <a:xfrm flipV="1">
              <a:off x="4283832" y="3152798"/>
              <a:ext cx="603107" cy="898448"/>
            </a:xfrm>
            <a:prstGeom prst="line">
              <a:avLst/>
            </a:prstGeom>
            <a:ln w="38100">
              <a:solidFill>
                <a:srgbClr val="ED0B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4" name="Bred bue 173"/>
            <p:cNvSpPr/>
            <p:nvPr/>
          </p:nvSpPr>
          <p:spPr>
            <a:xfrm rot="2123649">
              <a:off x="4240579" y="3340744"/>
              <a:ext cx="639773" cy="639773"/>
            </a:xfrm>
            <a:prstGeom prst="blockArc">
              <a:avLst>
                <a:gd name="adj1" fmla="val 10800000"/>
                <a:gd name="adj2" fmla="val 21415300"/>
                <a:gd name="adj3" fmla="val 13036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09" fontAlgn="base">
                <a:spcBef>
                  <a:spcPct val="0"/>
                </a:spcBef>
                <a:spcAft>
                  <a:spcPct val="0"/>
                </a:spcAft>
              </a:pPr>
              <a:endParaRPr lang="nb-NO" sz="1350">
                <a:solidFill>
                  <a:prstClr val="black"/>
                </a:solidFill>
                <a:latin typeface="Arial"/>
              </a:endParaRPr>
            </a:p>
          </p:txBody>
        </p:sp>
      </p:grpSp>
      <p:grpSp>
        <p:nvGrpSpPr>
          <p:cNvPr id="177" name="Gruppe 176"/>
          <p:cNvGrpSpPr/>
          <p:nvPr/>
        </p:nvGrpSpPr>
        <p:grpSpPr>
          <a:xfrm rot="17601021">
            <a:off x="2980413" y="4079343"/>
            <a:ext cx="484723" cy="673770"/>
            <a:chOff x="4240579" y="3152798"/>
            <a:chExt cx="646360" cy="898448"/>
          </a:xfrm>
        </p:grpSpPr>
        <p:cxnSp>
          <p:nvCxnSpPr>
            <p:cNvPr id="178" name="Rett linje 177"/>
            <p:cNvCxnSpPr/>
            <p:nvPr/>
          </p:nvCxnSpPr>
          <p:spPr>
            <a:xfrm flipV="1">
              <a:off x="4283832" y="3152798"/>
              <a:ext cx="603107" cy="898448"/>
            </a:xfrm>
            <a:prstGeom prst="line">
              <a:avLst/>
            </a:prstGeom>
            <a:ln w="38100">
              <a:solidFill>
                <a:srgbClr val="ED0B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9" name="Bred bue 178"/>
            <p:cNvSpPr/>
            <p:nvPr/>
          </p:nvSpPr>
          <p:spPr>
            <a:xfrm rot="2123649">
              <a:off x="4240579" y="3340744"/>
              <a:ext cx="639773" cy="639773"/>
            </a:xfrm>
            <a:prstGeom prst="blockArc">
              <a:avLst>
                <a:gd name="adj1" fmla="val 10800000"/>
                <a:gd name="adj2" fmla="val 21415300"/>
                <a:gd name="adj3" fmla="val 13036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09" fontAlgn="base">
                <a:spcBef>
                  <a:spcPct val="0"/>
                </a:spcBef>
                <a:spcAft>
                  <a:spcPct val="0"/>
                </a:spcAft>
              </a:pPr>
              <a:endParaRPr lang="nb-NO" sz="1350">
                <a:solidFill>
                  <a:prstClr val="black"/>
                </a:solidFill>
                <a:latin typeface="Arial"/>
              </a:endParaRPr>
            </a:p>
          </p:txBody>
        </p:sp>
      </p:grpSp>
      <p:grpSp>
        <p:nvGrpSpPr>
          <p:cNvPr id="180" name="Gruppe 179"/>
          <p:cNvGrpSpPr/>
          <p:nvPr/>
        </p:nvGrpSpPr>
        <p:grpSpPr>
          <a:xfrm rot="17453008">
            <a:off x="6217915" y="2338103"/>
            <a:ext cx="484723" cy="673770"/>
            <a:chOff x="4240579" y="3152798"/>
            <a:chExt cx="646360" cy="898448"/>
          </a:xfrm>
        </p:grpSpPr>
        <p:cxnSp>
          <p:nvCxnSpPr>
            <p:cNvPr id="181" name="Rett linje 180"/>
            <p:cNvCxnSpPr/>
            <p:nvPr/>
          </p:nvCxnSpPr>
          <p:spPr>
            <a:xfrm flipV="1">
              <a:off x="4283832" y="3152798"/>
              <a:ext cx="603107" cy="898448"/>
            </a:xfrm>
            <a:prstGeom prst="line">
              <a:avLst/>
            </a:prstGeom>
            <a:ln w="38100">
              <a:solidFill>
                <a:srgbClr val="ED0B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2" name="Bred bue 181"/>
            <p:cNvSpPr/>
            <p:nvPr/>
          </p:nvSpPr>
          <p:spPr>
            <a:xfrm rot="2123649">
              <a:off x="4240579" y="3340744"/>
              <a:ext cx="639773" cy="639773"/>
            </a:xfrm>
            <a:prstGeom prst="blockArc">
              <a:avLst>
                <a:gd name="adj1" fmla="val 10800000"/>
                <a:gd name="adj2" fmla="val 21415300"/>
                <a:gd name="adj3" fmla="val 13036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09" fontAlgn="base">
                <a:spcBef>
                  <a:spcPct val="0"/>
                </a:spcBef>
                <a:spcAft>
                  <a:spcPct val="0"/>
                </a:spcAft>
              </a:pPr>
              <a:endParaRPr lang="nb-NO" sz="1350">
                <a:solidFill>
                  <a:prstClr val="black"/>
                </a:solidFill>
                <a:latin typeface="Arial"/>
              </a:endParaRPr>
            </a:p>
          </p:txBody>
        </p:sp>
      </p:grpSp>
      <p:cxnSp>
        <p:nvCxnSpPr>
          <p:cNvPr id="184" name="Rett linje 183"/>
          <p:cNvCxnSpPr/>
          <p:nvPr/>
        </p:nvCxnSpPr>
        <p:spPr>
          <a:xfrm flipV="1">
            <a:off x="6385180" y="4125072"/>
            <a:ext cx="452286" cy="673770"/>
          </a:xfrm>
          <a:prstGeom prst="line">
            <a:avLst/>
          </a:prstGeom>
          <a:ln w="38100">
            <a:solidFill>
              <a:srgbClr val="ED0B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5" name="Bred bue 184"/>
          <p:cNvSpPr/>
          <p:nvPr/>
        </p:nvSpPr>
        <p:spPr>
          <a:xfrm rot="2123649">
            <a:off x="6352743" y="4266018"/>
            <a:ext cx="479783" cy="479783"/>
          </a:xfrm>
          <a:prstGeom prst="blockArc">
            <a:avLst>
              <a:gd name="adj1" fmla="val 10800000"/>
              <a:gd name="adj2" fmla="val 21415300"/>
              <a:gd name="adj3" fmla="val 1303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09" fontAlgn="base">
              <a:spcBef>
                <a:spcPct val="0"/>
              </a:spcBef>
              <a:spcAft>
                <a:spcPct val="0"/>
              </a:spcAft>
            </a:pPr>
            <a:endParaRPr lang="nb-NO" sz="1350">
              <a:solidFill>
                <a:prstClr val="black"/>
              </a:solidFill>
              <a:latin typeface="Arial"/>
            </a:endParaRPr>
          </a:p>
        </p:txBody>
      </p:sp>
      <p:sp>
        <p:nvSpPr>
          <p:cNvPr id="186" name="Bred bue 185"/>
          <p:cNvSpPr/>
          <p:nvPr/>
        </p:nvSpPr>
        <p:spPr>
          <a:xfrm>
            <a:off x="5010329" y="3084261"/>
            <a:ext cx="479783" cy="479783"/>
          </a:xfrm>
          <a:prstGeom prst="blockArc">
            <a:avLst>
              <a:gd name="adj1" fmla="val 10800000"/>
              <a:gd name="adj2" fmla="val 21415300"/>
              <a:gd name="adj3" fmla="val 1303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09" fontAlgn="base">
              <a:spcBef>
                <a:spcPct val="0"/>
              </a:spcBef>
              <a:spcAft>
                <a:spcPct val="0"/>
              </a:spcAft>
            </a:pPr>
            <a:endParaRPr lang="nb-NO" sz="1350">
              <a:solidFill>
                <a:prstClr val="black"/>
              </a:solidFill>
              <a:latin typeface="Arial"/>
            </a:endParaRPr>
          </a:p>
        </p:txBody>
      </p:sp>
      <p:sp>
        <p:nvSpPr>
          <p:cNvPr id="188" name="Bred bue 187"/>
          <p:cNvSpPr/>
          <p:nvPr/>
        </p:nvSpPr>
        <p:spPr>
          <a:xfrm rot="1960932">
            <a:off x="4792031" y="3759435"/>
            <a:ext cx="479783" cy="479783"/>
          </a:xfrm>
          <a:prstGeom prst="blockArc">
            <a:avLst>
              <a:gd name="adj1" fmla="val 10800000"/>
              <a:gd name="adj2" fmla="val 21415300"/>
              <a:gd name="adj3" fmla="val 1303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09" fontAlgn="base">
              <a:spcBef>
                <a:spcPct val="0"/>
              </a:spcBef>
              <a:spcAft>
                <a:spcPct val="0"/>
              </a:spcAft>
            </a:pPr>
            <a:endParaRPr lang="nb-NO" sz="1350">
              <a:solidFill>
                <a:prstClr val="black"/>
              </a:solidFill>
              <a:latin typeface="Arial"/>
            </a:endParaRPr>
          </a:p>
        </p:txBody>
      </p:sp>
      <p:grpSp>
        <p:nvGrpSpPr>
          <p:cNvPr id="190" name="Gruppe 189"/>
          <p:cNvGrpSpPr/>
          <p:nvPr/>
        </p:nvGrpSpPr>
        <p:grpSpPr>
          <a:xfrm>
            <a:off x="10570072" y="3468529"/>
            <a:ext cx="132412" cy="132412"/>
            <a:chOff x="8795378" y="2362638"/>
            <a:chExt cx="839055" cy="839055"/>
          </a:xfrm>
        </p:grpSpPr>
        <p:sp>
          <p:nvSpPr>
            <p:cNvPr id="290" name="Ellipse 289"/>
            <p:cNvSpPr/>
            <p:nvPr/>
          </p:nvSpPr>
          <p:spPr>
            <a:xfrm>
              <a:off x="8795378" y="2362638"/>
              <a:ext cx="839055" cy="83905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09" fontAlgn="base">
                <a:spcBef>
                  <a:spcPct val="0"/>
                </a:spcBef>
                <a:spcAft>
                  <a:spcPct val="0"/>
                </a:spcAft>
              </a:pPr>
              <a:endParaRPr lang="nb-NO" sz="1350">
                <a:solidFill>
                  <a:prstClr val="white"/>
                </a:solidFill>
                <a:latin typeface="Arial"/>
              </a:endParaRPr>
            </a:p>
          </p:txBody>
        </p:sp>
        <p:pic>
          <p:nvPicPr>
            <p:cNvPr id="291" name="Bilde 290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002008" y="2509488"/>
              <a:ext cx="435937" cy="217969"/>
            </a:xfrm>
            <a:prstGeom prst="rect">
              <a:avLst/>
            </a:prstGeom>
          </p:spPr>
        </p:pic>
        <p:pic>
          <p:nvPicPr>
            <p:cNvPr id="292" name="Bilde 291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050853" y="2765489"/>
              <a:ext cx="367467" cy="367467"/>
            </a:xfrm>
            <a:prstGeom prst="rect">
              <a:avLst/>
            </a:prstGeom>
          </p:spPr>
        </p:pic>
      </p:grpSp>
      <p:grpSp>
        <p:nvGrpSpPr>
          <p:cNvPr id="191" name="Gruppe 190"/>
          <p:cNvGrpSpPr/>
          <p:nvPr/>
        </p:nvGrpSpPr>
        <p:grpSpPr>
          <a:xfrm>
            <a:off x="10608175" y="3073938"/>
            <a:ext cx="131908" cy="131908"/>
            <a:chOff x="5073596" y="2014502"/>
            <a:chExt cx="839055" cy="839055"/>
          </a:xfrm>
        </p:grpSpPr>
        <p:sp>
          <p:nvSpPr>
            <p:cNvPr id="287" name="Ellipse 286"/>
            <p:cNvSpPr/>
            <p:nvPr/>
          </p:nvSpPr>
          <p:spPr>
            <a:xfrm>
              <a:off x="5073596" y="2014502"/>
              <a:ext cx="839055" cy="83905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09" fontAlgn="base">
                <a:spcBef>
                  <a:spcPct val="0"/>
                </a:spcBef>
                <a:spcAft>
                  <a:spcPct val="0"/>
                </a:spcAft>
              </a:pPr>
              <a:endParaRPr lang="nb-NO" sz="1350">
                <a:solidFill>
                  <a:prstClr val="white"/>
                </a:solidFill>
                <a:latin typeface="Arial"/>
              </a:endParaRPr>
            </a:p>
          </p:txBody>
        </p:sp>
        <p:pic>
          <p:nvPicPr>
            <p:cNvPr id="288" name="Bilde 287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191647" y="2126346"/>
              <a:ext cx="275503" cy="344379"/>
            </a:xfrm>
            <a:prstGeom prst="rect">
              <a:avLst/>
            </a:prstGeom>
          </p:spPr>
        </p:pic>
        <p:pic>
          <p:nvPicPr>
            <p:cNvPr id="289" name="Bilde 288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337935" y="2426964"/>
              <a:ext cx="442410" cy="331807"/>
            </a:xfrm>
            <a:prstGeom prst="rect">
              <a:avLst/>
            </a:prstGeom>
          </p:spPr>
        </p:pic>
      </p:grpSp>
      <p:grpSp>
        <p:nvGrpSpPr>
          <p:cNvPr id="192" name="Gruppe 191"/>
          <p:cNvGrpSpPr/>
          <p:nvPr/>
        </p:nvGrpSpPr>
        <p:grpSpPr>
          <a:xfrm>
            <a:off x="10382074" y="3581393"/>
            <a:ext cx="125934" cy="125934"/>
            <a:chOff x="1046598" y="2297420"/>
            <a:chExt cx="839055" cy="839055"/>
          </a:xfrm>
        </p:grpSpPr>
        <p:sp>
          <p:nvSpPr>
            <p:cNvPr id="285" name="Ellipse 284"/>
            <p:cNvSpPr/>
            <p:nvPr/>
          </p:nvSpPr>
          <p:spPr>
            <a:xfrm>
              <a:off x="1046598" y="2297420"/>
              <a:ext cx="839055" cy="83905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09" fontAlgn="base">
                <a:spcBef>
                  <a:spcPct val="0"/>
                </a:spcBef>
                <a:spcAft>
                  <a:spcPct val="0"/>
                </a:spcAft>
              </a:pPr>
              <a:endParaRPr lang="nb-NO" sz="1350">
                <a:solidFill>
                  <a:prstClr val="white"/>
                </a:solidFill>
                <a:latin typeface="Arial"/>
              </a:endParaRPr>
            </a:p>
          </p:txBody>
        </p:sp>
        <p:pic>
          <p:nvPicPr>
            <p:cNvPr id="286" name="Bilde 285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53707" y="2431733"/>
              <a:ext cx="628993" cy="602132"/>
            </a:xfrm>
            <a:prstGeom prst="rect">
              <a:avLst/>
            </a:prstGeom>
          </p:spPr>
        </p:pic>
      </p:grpSp>
      <p:grpSp>
        <p:nvGrpSpPr>
          <p:cNvPr id="193" name="Gruppe 192"/>
          <p:cNvGrpSpPr/>
          <p:nvPr/>
        </p:nvGrpSpPr>
        <p:grpSpPr>
          <a:xfrm>
            <a:off x="10561296" y="2888203"/>
            <a:ext cx="132994" cy="275564"/>
            <a:chOff x="10258427" y="2915816"/>
            <a:chExt cx="459164" cy="951391"/>
          </a:xfrm>
        </p:grpSpPr>
        <p:sp>
          <p:nvSpPr>
            <p:cNvPr id="282" name="Ellipse 281"/>
            <p:cNvSpPr/>
            <p:nvPr/>
          </p:nvSpPr>
          <p:spPr>
            <a:xfrm>
              <a:off x="10258427" y="2915816"/>
              <a:ext cx="459164" cy="459164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09" fontAlgn="base">
                <a:spcBef>
                  <a:spcPct val="0"/>
                </a:spcBef>
                <a:spcAft>
                  <a:spcPct val="0"/>
                </a:spcAft>
              </a:pPr>
              <a:endParaRPr lang="nb-NO" sz="1350">
                <a:solidFill>
                  <a:prstClr val="white"/>
                </a:solidFill>
                <a:latin typeface="Arial"/>
              </a:endParaRPr>
            </a:p>
          </p:txBody>
        </p:sp>
        <p:pic>
          <p:nvPicPr>
            <p:cNvPr id="283" name="Bilde 282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0333319" y="3024301"/>
              <a:ext cx="208250" cy="208250"/>
            </a:xfrm>
            <a:prstGeom prst="rect">
              <a:avLst/>
            </a:prstGeom>
          </p:spPr>
        </p:pic>
        <p:sp>
          <p:nvSpPr>
            <p:cNvPr id="284" name="TekstSylinder 283"/>
            <p:cNvSpPr txBox="1"/>
            <p:nvPr/>
          </p:nvSpPr>
          <p:spPr>
            <a:xfrm>
              <a:off x="10493385" y="3070254"/>
              <a:ext cx="175326" cy="7969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709" fontAlgn="base">
                <a:spcBef>
                  <a:spcPct val="0"/>
                </a:spcBef>
                <a:spcAft>
                  <a:spcPct val="0"/>
                </a:spcAft>
              </a:pPr>
              <a:r>
                <a:rPr lang="nb-NO" sz="900" dirty="0">
                  <a:solidFill>
                    <a:prstClr val="black"/>
                  </a:solidFill>
                  <a:latin typeface="Avenir Next Condensed" charset="0"/>
                  <a:ea typeface="Avenir Next Condensed" charset="0"/>
                  <a:cs typeface="Avenir Next Condensed" charset="0"/>
                </a:rPr>
                <a:t>§</a:t>
              </a:r>
            </a:p>
          </p:txBody>
        </p:sp>
      </p:grpSp>
      <p:grpSp>
        <p:nvGrpSpPr>
          <p:cNvPr id="194" name="Gruppe 193"/>
          <p:cNvGrpSpPr/>
          <p:nvPr/>
        </p:nvGrpSpPr>
        <p:grpSpPr>
          <a:xfrm>
            <a:off x="9732379" y="3174509"/>
            <a:ext cx="140719" cy="140719"/>
            <a:chOff x="2584178" y="3995936"/>
            <a:chExt cx="839055" cy="839055"/>
          </a:xfrm>
        </p:grpSpPr>
        <p:sp>
          <p:nvSpPr>
            <p:cNvPr id="279" name="Ellipse 278"/>
            <p:cNvSpPr/>
            <p:nvPr/>
          </p:nvSpPr>
          <p:spPr>
            <a:xfrm>
              <a:off x="2584178" y="3995936"/>
              <a:ext cx="839055" cy="83905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09" fontAlgn="base">
                <a:spcBef>
                  <a:spcPct val="0"/>
                </a:spcBef>
                <a:spcAft>
                  <a:spcPct val="0"/>
                </a:spcAft>
              </a:pPr>
              <a:endParaRPr lang="nb-NO" sz="1350">
                <a:solidFill>
                  <a:prstClr val="white"/>
                </a:solidFill>
                <a:latin typeface="Arial"/>
              </a:endParaRPr>
            </a:p>
          </p:txBody>
        </p:sp>
        <p:pic>
          <p:nvPicPr>
            <p:cNvPr id="280" name="Bilde 279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750851" y="4319662"/>
              <a:ext cx="333553" cy="416941"/>
            </a:xfrm>
            <a:prstGeom prst="rect">
              <a:avLst/>
            </a:prstGeom>
          </p:spPr>
        </p:pic>
        <p:pic>
          <p:nvPicPr>
            <p:cNvPr id="281" name="Bilde 280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2985032" y="4106345"/>
              <a:ext cx="308741" cy="411655"/>
            </a:xfrm>
            <a:prstGeom prst="rect">
              <a:avLst/>
            </a:prstGeom>
          </p:spPr>
        </p:pic>
      </p:grpSp>
      <p:grpSp>
        <p:nvGrpSpPr>
          <p:cNvPr id="195" name="Gruppe 194"/>
          <p:cNvGrpSpPr/>
          <p:nvPr/>
        </p:nvGrpSpPr>
        <p:grpSpPr>
          <a:xfrm>
            <a:off x="9926748" y="3462820"/>
            <a:ext cx="140719" cy="140719"/>
            <a:chOff x="2584178" y="3995936"/>
            <a:chExt cx="839055" cy="839055"/>
          </a:xfrm>
        </p:grpSpPr>
        <p:sp>
          <p:nvSpPr>
            <p:cNvPr id="276" name="Ellipse 275"/>
            <p:cNvSpPr/>
            <p:nvPr/>
          </p:nvSpPr>
          <p:spPr>
            <a:xfrm>
              <a:off x="2584178" y="3995936"/>
              <a:ext cx="839055" cy="83905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09" fontAlgn="base">
                <a:spcBef>
                  <a:spcPct val="0"/>
                </a:spcBef>
                <a:spcAft>
                  <a:spcPct val="0"/>
                </a:spcAft>
              </a:pPr>
              <a:endParaRPr lang="nb-NO" sz="1350">
                <a:solidFill>
                  <a:prstClr val="white"/>
                </a:solidFill>
                <a:latin typeface="Arial"/>
              </a:endParaRPr>
            </a:p>
          </p:txBody>
        </p:sp>
        <p:pic>
          <p:nvPicPr>
            <p:cNvPr id="277" name="Bilde 276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750851" y="4319662"/>
              <a:ext cx="333553" cy="416941"/>
            </a:xfrm>
            <a:prstGeom prst="rect">
              <a:avLst/>
            </a:prstGeom>
          </p:spPr>
        </p:pic>
        <p:pic>
          <p:nvPicPr>
            <p:cNvPr id="278" name="Bilde 277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2985032" y="4106345"/>
              <a:ext cx="308741" cy="411655"/>
            </a:xfrm>
            <a:prstGeom prst="rect">
              <a:avLst/>
            </a:prstGeom>
          </p:spPr>
        </p:pic>
      </p:grpSp>
      <p:grpSp>
        <p:nvGrpSpPr>
          <p:cNvPr id="196" name="Gruppe 195"/>
          <p:cNvGrpSpPr/>
          <p:nvPr/>
        </p:nvGrpSpPr>
        <p:grpSpPr>
          <a:xfrm>
            <a:off x="10076546" y="3298500"/>
            <a:ext cx="97304" cy="97304"/>
            <a:chOff x="2584178" y="3995936"/>
            <a:chExt cx="839055" cy="839055"/>
          </a:xfrm>
        </p:grpSpPr>
        <p:sp>
          <p:nvSpPr>
            <p:cNvPr id="273" name="Ellipse 272"/>
            <p:cNvSpPr/>
            <p:nvPr/>
          </p:nvSpPr>
          <p:spPr>
            <a:xfrm>
              <a:off x="2584178" y="3995936"/>
              <a:ext cx="839055" cy="83905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09" fontAlgn="base">
                <a:spcBef>
                  <a:spcPct val="0"/>
                </a:spcBef>
                <a:spcAft>
                  <a:spcPct val="0"/>
                </a:spcAft>
              </a:pPr>
              <a:endParaRPr lang="nb-NO" sz="1350">
                <a:solidFill>
                  <a:prstClr val="white"/>
                </a:solidFill>
                <a:latin typeface="Arial"/>
              </a:endParaRPr>
            </a:p>
          </p:txBody>
        </p:sp>
        <p:pic>
          <p:nvPicPr>
            <p:cNvPr id="274" name="Bilde 273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750851" y="4319662"/>
              <a:ext cx="333553" cy="416941"/>
            </a:xfrm>
            <a:prstGeom prst="rect">
              <a:avLst/>
            </a:prstGeom>
          </p:spPr>
        </p:pic>
        <p:pic>
          <p:nvPicPr>
            <p:cNvPr id="275" name="Bilde 274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2985032" y="4106345"/>
              <a:ext cx="308741" cy="411655"/>
            </a:xfrm>
            <a:prstGeom prst="rect">
              <a:avLst/>
            </a:prstGeom>
          </p:spPr>
        </p:pic>
      </p:grpSp>
      <p:grpSp>
        <p:nvGrpSpPr>
          <p:cNvPr id="197" name="Gruppe 196"/>
          <p:cNvGrpSpPr/>
          <p:nvPr/>
        </p:nvGrpSpPr>
        <p:grpSpPr>
          <a:xfrm>
            <a:off x="9854271" y="3013067"/>
            <a:ext cx="110417" cy="110418"/>
            <a:chOff x="2584178" y="3995936"/>
            <a:chExt cx="839055" cy="839055"/>
          </a:xfrm>
        </p:grpSpPr>
        <p:sp>
          <p:nvSpPr>
            <p:cNvPr id="270" name="Ellipse 269"/>
            <p:cNvSpPr/>
            <p:nvPr/>
          </p:nvSpPr>
          <p:spPr>
            <a:xfrm>
              <a:off x="2584178" y="3995936"/>
              <a:ext cx="839055" cy="83905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09" fontAlgn="base">
                <a:spcBef>
                  <a:spcPct val="0"/>
                </a:spcBef>
                <a:spcAft>
                  <a:spcPct val="0"/>
                </a:spcAft>
              </a:pPr>
              <a:endParaRPr lang="nb-NO" sz="1350">
                <a:solidFill>
                  <a:prstClr val="white"/>
                </a:solidFill>
                <a:latin typeface="Arial"/>
              </a:endParaRPr>
            </a:p>
          </p:txBody>
        </p:sp>
        <p:pic>
          <p:nvPicPr>
            <p:cNvPr id="271" name="Bilde 270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750851" y="4319662"/>
              <a:ext cx="333553" cy="416941"/>
            </a:xfrm>
            <a:prstGeom prst="rect">
              <a:avLst/>
            </a:prstGeom>
          </p:spPr>
        </p:pic>
        <p:pic>
          <p:nvPicPr>
            <p:cNvPr id="272" name="Bilde 271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2985032" y="4106345"/>
              <a:ext cx="308741" cy="411655"/>
            </a:xfrm>
            <a:prstGeom prst="rect">
              <a:avLst/>
            </a:prstGeom>
          </p:spPr>
        </p:pic>
      </p:grpSp>
      <p:grpSp>
        <p:nvGrpSpPr>
          <p:cNvPr id="198" name="Gruppe 197"/>
          <p:cNvGrpSpPr/>
          <p:nvPr/>
        </p:nvGrpSpPr>
        <p:grpSpPr>
          <a:xfrm>
            <a:off x="10254880" y="3191011"/>
            <a:ext cx="140719" cy="140719"/>
            <a:chOff x="2584178" y="3995936"/>
            <a:chExt cx="839055" cy="839055"/>
          </a:xfrm>
        </p:grpSpPr>
        <p:sp>
          <p:nvSpPr>
            <p:cNvPr id="267" name="Ellipse 266"/>
            <p:cNvSpPr/>
            <p:nvPr/>
          </p:nvSpPr>
          <p:spPr>
            <a:xfrm>
              <a:off x="2584178" y="3995936"/>
              <a:ext cx="839055" cy="83905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09" fontAlgn="base">
                <a:spcBef>
                  <a:spcPct val="0"/>
                </a:spcBef>
                <a:spcAft>
                  <a:spcPct val="0"/>
                </a:spcAft>
              </a:pPr>
              <a:endParaRPr lang="nb-NO" sz="1350">
                <a:solidFill>
                  <a:prstClr val="white"/>
                </a:solidFill>
                <a:latin typeface="Arial"/>
              </a:endParaRPr>
            </a:p>
          </p:txBody>
        </p:sp>
        <p:pic>
          <p:nvPicPr>
            <p:cNvPr id="268" name="Bilde 267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750851" y="4319662"/>
              <a:ext cx="333553" cy="416941"/>
            </a:xfrm>
            <a:prstGeom prst="rect">
              <a:avLst/>
            </a:prstGeom>
          </p:spPr>
        </p:pic>
        <p:pic>
          <p:nvPicPr>
            <p:cNvPr id="269" name="Bilde 268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2985032" y="4106345"/>
              <a:ext cx="308741" cy="411655"/>
            </a:xfrm>
            <a:prstGeom prst="rect">
              <a:avLst/>
            </a:prstGeom>
          </p:spPr>
        </p:pic>
      </p:grpSp>
      <p:grpSp>
        <p:nvGrpSpPr>
          <p:cNvPr id="199" name="Gruppe 198"/>
          <p:cNvGrpSpPr/>
          <p:nvPr/>
        </p:nvGrpSpPr>
        <p:grpSpPr>
          <a:xfrm>
            <a:off x="10207047" y="3419185"/>
            <a:ext cx="140719" cy="140719"/>
            <a:chOff x="2584178" y="3995936"/>
            <a:chExt cx="839055" cy="839055"/>
          </a:xfrm>
        </p:grpSpPr>
        <p:sp>
          <p:nvSpPr>
            <p:cNvPr id="264" name="Ellipse 263"/>
            <p:cNvSpPr/>
            <p:nvPr/>
          </p:nvSpPr>
          <p:spPr>
            <a:xfrm>
              <a:off x="2584178" y="3995936"/>
              <a:ext cx="839055" cy="83905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09" fontAlgn="base">
                <a:spcBef>
                  <a:spcPct val="0"/>
                </a:spcBef>
                <a:spcAft>
                  <a:spcPct val="0"/>
                </a:spcAft>
              </a:pPr>
              <a:endParaRPr lang="nb-NO" sz="1350">
                <a:solidFill>
                  <a:prstClr val="white"/>
                </a:solidFill>
                <a:latin typeface="Arial"/>
              </a:endParaRPr>
            </a:p>
          </p:txBody>
        </p:sp>
        <p:pic>
          <p:nvPicPr>
            <p:cNvPr id="265" name="Bilde 264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750851" y="4319662"/>
              <a:ext cx="333553" cy="416941"/>
            </a:xfrm>
            <a:prstGeom prst="rect">
              <a:avLst/>
            </a:prstGeom>
          </p:spPr>
        </p:pic>
        <p:pic>
          <p:nvPicPr>
            <p:cNvPr id="266" name="Bilde 265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2985032" y="4106345"/>
              <a:ext cx="308741" cy="411655"/>
            </a:xfrm>
            <a:prstGeom prst="rect">
              <a:avLst/>
            </a:prstGeom>
          </p:spPr>
        </p:pic>
      </p:grpSp>
      <p:grpSp>
        <p:nvGrpSpPr>
          <p:cNvPr id="200" name="Gruppe 199"/>
          <p:cNvGrpSpPr/>
          <p:nvPr/>
        </p:nvGrpSpPr>
        <p:grpSpPr>
          <a:xfrm>
            <a:off x="10435841" y="3384147"/>
            <a:ext cx="97304" cy="97304"/>
            <a:chOff x="2584178" y="3995936"/>
            <a:chExt cx="839055" cy="839055"/>
          </a:xfrm>
        </p:grpSpPr>
        <p:sp>
          <p:nvSpPr>
            <p:cNvPr id="261" name="Ellipse 260"/>
            <p:cNvSpPr/>
            <p:nvPr/>
          </p:nvSpPr>
          <p:spPr>
            <a:xfrm>
              <a:off x="2584178" y="3995936"/>
              <a:ext cx="839055" cy="83905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09" fontAlgn="base">
                <a:spcBef>
                  <a:spcPct val="0"/>
                </a:spcBef>
                <a:spcAft>
                  <a:spcPct val="0"/>
                </a:spcAft>
              </a:pPr>
              <a:endParaRPr lang="nb-NO" sz="1350">
                <a:solidFill>
                  <a:prstClr val="white"/>
                </a:solidFill>
                <a:latin typeface="Arial"/>
              </a:endParaRPr>
            </a:p>
          </p:txBody>
        </p:sp>
        <p:pic>
          <p:nvPicPr>
            <p:cNvPr id="262" name="Bilde 261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750851" y="4319662"/>
              <a:ext cx="333553" cy="416941"/>
            </a:xfrm>
            <a:prstGeom prst="rect">
              <a:avLst/>
            </a:prstGeom>
          </p:spPr>
        </p:pic>
        <p:pic>
          <p:nvPicPr>
            <p:cNvPr id="263" name="Bilde 262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2985032" y="4106345"/>
              <a:ext cx="308741" cy="411655"/>
            </a:xfrm>
            <a:prstGeom prst="rect">
              <a:avLst/>
            </a:prstGeom>
          </p:spPr>
        </p:pic>
      </p:grpSp>
      <p:grpSp>
        <p:nvGrpSpPr>
          <p:cNvPr id="201" name="Gruppe 200"/>
          <p:cNvGrpSpPr/>
          <p:nvPr/>
        </p:nvGrpSpPr>
        <p:grpSpPr>
          <a:xfrm>
            <a:off x="10292839" y="2982800"/>
            <a:ext cx="110417" cy="110418"/>
            <a:chOff x="2584178" y="3995936"/>
            <a:chExt cx="839055" cy="839055"/>
          </a:xfrm>
        </p:grpSpPr>
        <p:sp>
          <p:nvSpPr>
            <p:cNvPr id="258" name="Ellipse 257"/>
            <p:cNvSpPr/>
            <p:nvPr/>
          </p:nvSpPr>
          <p:spPr>
            <a:xfrm>
              <a:off x="2584178" y="3995936"/>
              <a:ext cx="839055" cy="83905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09" fontAlgn="base">
                <a:spcBef>
                  <a:spcPct val="0"/>
                </a:spcBef>
                <a:spcAft>
                  <a:spcPct val="0"/>
                </a:spcAft>
              </a:pPr>
              <a:endParaRPr lang="nb-NO" sz="1350">
                <a:solidFill>
                  <a:prstClr val="white"/>
                </a:solidFill>
                <a:latin typeface="Arial"/>
              </a:endParaRPr>
            </a:p>
          </p:txBody>
        </p:sp>
        <p:pic>
          <p:nvPicPr>
            <p:cNvPr id="259" name="Bilde 258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750851" y="4319662"/>
              <a:ext cx="333553" cy="416941"/>
            </a:xfrm>
            <a:prstGeom prst="rect">
              <a:avLst/>
            </a:prstGeom>
          </p:spPr>
        </p:pic>
        <p:pic>
          <p:nvPicPr>
            <p:cNvPr id="260" name="Bilde 259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2985032" y="4106345"/>
              <a:ext cx="308741" cy="411655"/>
            </a:xfrm>
            <a:prstGeom prst="rect">
              <a:avLst/>
            </a:prstGeom>
          </p:spPr>
        </p:pic>
      </p:grpSp>
      <p:grpSp>
        <p:nvGrpSpPr>
          <p:cNvPr id="202" name="Gruppe 201"/>
          <p:cNvGrpSpPr/>
          <p:nvPr/>
        </p:nvGrpSpPr>
        <p:grpSpPr>
          <a:xfrm>
            <a:off x="10115215" y="3622267"/>
            <a:ext cx="97304" cy="97304"/>
            <a:chOff x="2584178" y="3995936"/>
            <a:chExt cx="839055" cy="839055"/>
          </a:xfrm>
        </p:grpSpPr>
        <p:sp>
          <p:nvSpPr>
            <p:cNvPr id="255" name="Ellipse 254"/>
            <p:cNvSpPr/>
            <p:nvPr/>
          </p:nvSpPr>
          <p:spPr>
            <a:xfrm>
              <a:off x="2584178" y="3995936"/>
              <a:ext cx="839055" cy="83905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09" fontAlgn="base">
                <a:spcBef>
                  <a:spcPct val="0"/>
                </a:spcBef>
                <a:spcAft>
                  <a:spcPct val="0"/>
                </a:spcAft>
              </a:pPr>
              <a:endParaRPr lang="nb-NO" sz="1350">
                <a:solidFill>
                  <a:prstClr val="white"/>
                </a:solidFill>
                <a:latin typeface="Arial"/>
              </a:endParaRPr>
            </a:p>
          </p:txBody>
        </p:sp>
        <p:pic>
          <p:nvPicPr>
            <p:cNvPr id="256" name="Bilde 255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750851" y="4319662"/>
              <a:ext cx="333553" cy="416941"/>
            </a:xfrm>
            <a:prstGeom prst="rect">
              <a:avLst/>
            </a:prstGeom>
          </p:spPr>
        </p:pic>
        <p:pic>
          <p:nvPicPr>
            <p:cNvPr id="257" name="Bilde 256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2985032" y="4106345"/>
              <a:ext cx="308741" cy="411655"/>
            </a:xfrm>
            <a:prstGeom prst="rect">
              <a:avLst/>
            </a:prstGeom>
          </p:spPr>
        </p:pic>
      </p:grpSp>
      <p:grpSp>
        <p:nvGrpSpPr>
          <p:cNvPr id="203" name="Gruppe 202"/>
          <p:cNvGrpSpPr/>
          <p:nvPr/>
        </p:nvGrpSpPr>
        <p:grpSpPr>
          <a:xfrm>
            <a:off x="10485690" y="3226626"/>
            <a:ext cx="110417" cy="110418"/>
            <a:chOff x="2584178" y="3995936"/>
            <a:chExt cx="839055" cy="839055"/>
          </a:xfrm>
        </p:grpSpPr>
        <p:sp>
          <p:nvSpPr>
            <p:cNvPr id="252" name="Ellipse 251"/>
            <p:cNvSpPr/>
            <p:nvPr/>
          </p:nvSpPr>
          <p:spPr>
            <a:xfrm>
              <a:off x="2584178" y="3995936"/>
              <a:ext cx="839055" cy="83905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09" fontAlgn="base">
                <a:spcBef>
                  <a:spcPct val="0"/>
                </a:spcBef>
                <a:spcAft>
                  <a:spcPct val="0"/>
                </a:spcAft>
              </a:pPr>
              <a:endParaRPr lang="nb-NO" sz="1350">
                <a:solidFill>
                  <a:prstClr val="white"/>
                </a:solidFill>
                <a:latin typeface="Arial"/>
              </a:endParaRPr>
            </a:p>
          </p:txBody>
        </p:sp>
        <p:pic>
          <p:nvPicPr>
            <p:cNvPr id="253" name="Bilde 252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750851" y="4319662"/>
              <a:ext cx="333553" cy="416941"/>
            </a:xfrm>
            <a:prstGeom prst="rect">
              <a:avLst/>
            </a:prstGeom>
          </p:spPr>
        </p:pic>
        <p:pic>
          <p:nvPicPr>
            <p:cNvPr id="254" name="Bilde 253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2985032" y="4106345"/>
              <a:ext cx="308741" cy="411655"/>
            </a:xfrm>
            <a:prstGeom prst="rect">
              <a:avLst/>
            </a:prstGeom>
          </p:spPr>
        </p:pic>
      </p:grpSp>
      <p:cxnSp>
        <p:nvCxnSpPr>
          <p:cNvPr id="204" name="Rett linje 203"/>
          <p:cNvCxnSpPr/>
          <p:nvPr/>
        </p:nvCxnSpPr>
        <p:spPr>
          <a:xfrm flipH="1">
            <a:off x="10519210" y="3013258"/>
            <a:ext cx="73259" cy="106998"/>
          </a:xfrm>
          <a:prstGeom prst="line">
            <a:avLst/>
          </a:prstGeom>
          <a:ln w="28575">
            <a:solidFill>
              <a:srgbClr val="F9C0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" name="Rett linje 204"/>
          <p:cNvCxnSpPr/>
          <p:nvPr/>
        </p:nvCxnSpPr>
        <p:spPr>
          <a:xfrm>
            <a:off x="10387085" y="3077048"/>
            <a:ext cx="57338" cy="35385"/>
          </a:xfrm>
          <a:prstGeom prst="line">
            <a:avLst/>
          </a:prstGeom>
          <a:ln w="28575">
            <a:solidFill>
              <a:srgbClr val="F9C0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Rett linje 205"/>
          <p:cNvCxnSpPr/>
          <p:nvPr/>
        </p:nvCxnSpPr>
        <p:spPr>
          <a:xfrm flipV="1">
            <a:off x="10375374" y="3160232"/>
            <a:ext cx="102645" cy="51386"/>
          </a:xfrm>
          <a:prstGeom prst="line">
            <a:avLst/>
          </a:prstGeom>
          <a:ln w="28575">
            <a:solidFill>
              <a:srgbClr val="F9C0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Rett linje 206"/>
          <p:cNvCxnSpPr/>
          <p:nvPr/>
        </p:nvCxnSpPr>
        <p:spPr>
          <a:xfrm>
            <a:off x="10484494" y="3162890"/>
            <a:ext cx="56404" cy="63736"/>
          </a:xfrm>
          <a:prstGeom prst="line">
            <a:avLst/>
          </a:prstGeom>
          <a:ln w="28575">
            <a:solidFill>
              <a:srgbClr val="F9C0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8" name="Rett linje 207"/>
          <p:cNvCxnSpPr/>
          <p:nvPr/>
        </p:nvCxnSpPr>
        <p:spPr>
          <a:xfrm>
            <a:off x="9972517" y="3361991"/>
            <a:ext cx="24591" cy="100830"/>
          </a:xfrm>
          <a:prstGeom prst="line">
            <a:avLst/>
          </a:prstGeom>
          <a:ln w="28575">
            <a:solidFill>
              <a:srgbClr val="F9C0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" name="Rett linje 208"/>
          <p:cNvCxnSpPr/>
          <p:nvPr/>
        </p:nvCxnSpPr>
        <p:spPr>
          <a:xfrm>
            <a:off x="10035555" y="3298954"/>
            <a:ext cx="55240" cy="13796"/>
          </a:xfrm>
          <a:prstGeom prst="line">
            <a:avLst/>
          </a:prstGeom>
          <a:ln>
            <a:solidFill>
              <a:srgbClr val="ED0B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Rett linje 209"/>
          <p:cNvCxnSpPr/>
          <p:nvPr/>
        </p:nvCxnSpPr>
        <p:spPr>
          <a:xfrm flipH="1">
            <a:off x="10017091" y="3208046"/>
            <a:ext cx="37375" cy="46333"/>
          </a:xfrm>
          <a:prstGeom prst="line">
            <a:avLst/>
          </a:prstGeom>
          <a:ln w="28575">
            <a:solidFill>
              <a:srgbClr val="F9C0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1" name="Rett linje 210"/>
          <p:cNvCxnSpPr/>
          <p:nvPr/>
        </p:nvCxnSpPr>
        <p:spPr>
          <a:xfrm>
            <a:off x="10327157" y="3539296"/>
            <a:ext cx="73359" cy="60539"/>
          </a:xfrm>
          <a:prstGeom prst="line">
            <a:avLst/>
          </a:prstGeom>
          <a:ln w="28575">
            <a:solidFill>
              <a:srgbClr val="F9C0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" name="Rett linje 211"/>
          <p:cNvCxnSpPr/>
          <p:nvPr/>
        </p:nvCxnSpPr>
        <p:spPr>
          <a:xfrm flipV="1">
            <a:off x="10546959" y="3135199"/>
            <a:ext cx="52372" cy="2125"/>
          </a:xfrm>
          <a:prstGeom prst="line">
            <a:avLst/>
          </a:prstGeom>
          <a:ln w="28575">
            <a:solidFill>
              <a:srgbClr val="F9C0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3" name="Ellipse 212"/>
          <p:cNvSpPr/>
          <p:nvPr/>
        </p:nvSpPr>
        <p:spPr>
          <a:xfrm>
            <a:off x="10420884" y="3074286"/>
            <a:ext cx="126075" cy="126075"/>
          </a:xfrm>
          <a:prstGeom prst="ellipse">
            <a:avLst/>
          </a:prstGeom>
          <a:solidFill>
            <a:srgbClr val="FFC000"/>
          </a:solidFill>
          <a:ln>
            <a:solidFill>
              <a:srgbClr val="F9C0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09" fontAlgn="base">
              <a:spcBef>
                <a:spcPct val="0"/>
              </a:spcBef>
              <a:spcAft>
                <a:spcPct val="0"/>
              </a:spcAft>
            </a:pPr>
            <a:endParaRPr lang="nb-NO" sz="1350">
              <a:solidFill>
                <a:prstClr val="white"/>
              </a:solidFill>
              <a:latin typeface="Arial"/>
            </a:endParaRPr>
          </a:p>
        </p:txBody>
      </p:sp>
      <p:grpSp>
        <p:nvGrpSpPr>
          <p:cNvPr id="214" name="Gruppe 213"/>
          <p:cNvGrpSpPr/>
          <p:nvPr/>
        </p:nvGrpSpPr>
        <p:grpSpPr>
          <a:xfrm>
            <a:off x="10385720" y="2810396"/>
            <a:ext cx="132412" cy="132412"/>
            <a:chOff x="8795378" y="2362638"/>
            <a:chExt cx="839055" cy="839055"/>
          </a:xfrm>
        </p:grpSpPr>
        <p:sp>
          <p:nvSpPr>
            <p:cNvPr id="249" name="Ellipse 248"/>
            <p:cNvSpPr/>
            <p:nvPr/>
          </p:nvSpPr>
          <p:spPr>
            <a:xfrm>
              <a:off x="8795378" y="2362638"/>
              <a:ext cx="839055" cy="83905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09" fontAlgn="base">
                <a:spcBef>
                  <a:spcPct val="0"/>
                </a:spcBef>
                <a:spcAft>
                  <a:spcPct val="0"/>
                </a:spcAft>
              </a:pPr>
              <a:endParaRPr lang="nb-NO" sz="1350">
                <a:solidFill>
                  <a:prstClr val="white"/>
                </a:solidFill>
                <a:latin typeface="Arial"/>
              </a:endParaRPr>
            </a:p>
          </p:txBody>
        </p:sp>
        <p:pic>
          <p:nvPicPr>
            <p:cNvPr id="250" name="Bilde 24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002008" y="2509488"/>
              <a:ext cx="435937" cy="217969"/>
            </a:xfrm>
            <a:prstGeom prst="rect">
              <a:avLst/>
            </a:prstGeom>
          </p:spPr>
        </p:pic>
        <p:pic>
          <p:nvPicPr>
            <p:cNvPr id="251" name="Bilde 25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050853" y="2765489"/>
              <a:ext cx="367467" cy="367467"/>
            </a:xfrm>
            <a:prstGeom prst="rect">
              <a:avLst/>
            </a:prstGeom>
          </p:spPr>
        </p:pic>
      </p:grpSp>
      <p:cxnSp>
        <p:nvCxnSpPr>
          <p:cNvPr id="215" name="Rett linje 214"/>
          <p:cNvCxnSpPr/>
          <p:nvPr/>
        </p:nvCxnSpPr>
        <p:spPr>
          <a:xfrm>
            <a:off x="10466317" y="2947071"/>
            <a:ext cx="17606" cy="127215"/>
          </a:xfrm>
          <a:prstGeom prst="line">
            <a:avLst/>
          </a:prstGeom>
          <a:ln w="28575">
            <a:solidFill>
              <a:srgbClr val="F9C0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6" name="Gruppe 215"/>
          <p:cNvGrpSpPr/>
          <p:nvPr/>
        </p:nvGrpSpPr>
        <p:grpSpPr>
          <a:xfrm>
            <a:off x="10635272" y="3231326"/>
            <a:ext cx="152132" cy="152132"/>
            <a:chOff x="1046598" y="2297420"/>
            <a:chExt cx="839055" cy="839055"/>
          </a:xfrm>
        </p:grpSpPr>
        <p:sp>
          <p:nvSpPr>
            <p:cNvPr id="247" name="Ellipse 246"/>
            <p:cNvSpPr/>
            <p:nvPr/>
          </p:nvSpPr>
          <p:spPr>
            <a:xfrm>
              <a:off x="1046598" y="2297420"/>
              <a:ext cx="839055" cy="83905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09" fontAlgn="base">
                <a:spcBef>
                  <a:spcPct val="0"/>
                </a:spcBef>
                <a:spcAft>
                  <a:spcPct val="0"/>
                </a:spcAft>
              </a:pPr>
              <a:endParaRPr lang="nb-NO" sz="1350">
                <a:solidFill>
                  <a:prstClr val="white"/>
                </a:solidFill>
                <a:latin typeface="Arial"/>
              </a:endParaRPr>
            </a:p>
          </p:txBody>
        </p:sp>
        <p:pic>
          <p:nvPicPr>
            <p:cNvPr id="248" name="Bilde 247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53707" y="2431733"/>
              <a:ext cx="628993" cy="602132"/>
            </a:xfrm>
            <a:prstGeom prst="rect">
              <a:avLst/>
            </a:prstGeom>
          </p:spPr>
        </p:pic>
      </p:grpSp>
      <p:cxnSp>
        <p:nvCxnSpPr>
          <p:cNvPr id="217" name="Rett linje 216"/>
          <p:cNvCxnSpPr/>
          <p:nvPr/>
        </p:nvCxnSpPr>
        <p:spPr>
          <a:xfrm>
            <a:off x="10536728" y="3168481"/>
            <a:ext cx="111425" cy="78991"/>
          </a:xfrm>
          <a:prstGeom prst="line">
            <a:avLst/>
          </a:prstGeom>
          <a:ln w="28575">
            <a:solidFill>
              <a:srgbClr val="F9C0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8" name="Ellipse 217"/>
          <p:cNvSpPr/>
          <p:nvPr/>
        </p:nvSpPr>
        <p:spPr>
          <a:xfrm>
            <a:off x="9909479" y="3235915"/>
            <a:ext cx="126075" cy="126075"/>
          </a:xfrm>
          <a:prstGeom prst="ellipse">
            <a:avLst/>
          </a:prstGeom>
          <a:solidFill>
            <a:srgbClr val="FFC000"/>
          </a:solidFill>
          <a:ln>
            <a:solidFill>
              <a:srgbClr val="F9C0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09" fontAlgn="base">
              <a:spcBef>
                <a:spcPct val="0"/>
              </a:spcBef>
              <a:spcAft>
                <a:spcPct val="0"/>
              </a:spcAft>
            </a:pPr>
            <a:endParaRPr lang="nb-NO" sz="1350">
              <a:solidFill>
                <a:prstClr val="white"/>
              </a:solidFill>
              <a:latin typeface="Arial"/>
            </a:endParaRPr>
          </a:p>
        </p:txBody>
      </p:sp>
      <p:cxnSp>
        <p:nvCxnSpPr>
          <p:cNvPr id="219" name="Rett linje 218"/>
          <p:cNvCxnSpPr/>
          <p:nvPr/>
        </p:nvCxnSpPr>
        <p:spPr>
          <a:xfrm flipH="1">
            <a:off x="10035555" y="3261369"/>
            <a:ext cx="219326" cy="23788"/>
          </a:xfrm>
          <a:prstGeom prst="line">
            <a:avLst/>
          </a:prstGeom>
          <a:ln w="28575">
            <a:solidFill>
              <a:srgbClr val="F9C0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0" name="Gruppe 219"/>
          <p:cNvGrpSpPr/>
          <p:nvPr/>
        </p:nvGrpSpPr>
        <p:grpSpPr>
          <a:xfrm>
            <a:off x="9734734" y="3387773"/>
            <a:ext cx="132412" cy="132412"/>
            <a:chOff x="8795378" y="2362638"/>
            <a:chExt cx="839055" cy="839055"/>
          </a:xfrm>
        </p:grpSpPr>
        <p:sp>
          <p:nvSpPr>
            <p:cNvPr id="244" name="Ellipse 243"/>
            <p:cNvSpPr/>
            <p:nvPr/>
          </p:nvSpPr>
          <p:spPr>
            <a:xfrm>
              <a:off x="8795378" y="2362638"/>
              <a:ext cx="839055" cy="83905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09" fontAlgn="base">
                <a:spcBef>
                  <a:spcPct val="0"/>
                </a:spcBef>
                <a:spcAft>
                  <a:spcPct val="0"/>
                </a:spcAft>
              </a:pPr>
              <a:endParaRPr lang="nb-NO" sz="1350">
                <a:solidFill>
                  <a:prstClr val="white"/>
                </a:solidFill>
                <a:latin typeface="Arial"/>
              </a:endParaRPr>
            </a:p>
          </p:txBody>
        </p:sp>
        <p:pic>
          <p:nvPicPr>
            <p:cNvPr id="245" name="Bilde 24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002008" y="2509488"/>
              <a:ext cx="435937" cy="217969"/>
            </a:xfrm>
            <a:prstGeom prst="rect">
              <a:avLst/>
            </a:prstGeom>
          </p:spPr>
        </p:pic>
        <p:pic>
          <p:nvPicPr>
            <p:cNvPr id="246" name="Bilde 245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050853" y="2765489"/>
              <a:ext cx="367467" cy="367467"/>
            </a:xfrm>
            <a:prstGeom prst="rect">
              <a:avLst/>
            </a:prstGeom>
          </p:spPr>
        </p:pic>
      </p:grpSp>
      <p:grpSp>
        <p:nvGrpSpPr>
          <p:cNvPr id="221" name="Gruppe 220"/>
          <p:cNvGrpSpPr/>
          <p:nvPr/>
        </p:nvGrpSpPr>
        <p:grpSpPr>
          <a:xfrm>
            <a:off x="10035148" y="3095455"/>
            <a:ext cx="131908" cy="131908"/>
            <a:chOff x="5073596" y="2014502"/>
            <a:chExt cx="839055" cy="839055"/>
          </a:xfrm>
        </p:grpSpPr>
        <p:sp>
          <p:nvSpPr>
            <p:cNvPr id="241" name="Ellipse 240"/>
            <p:cNvSpPr/>
            <p:nvPr/>
          </p:nvSpPr>
          <p:spPr>
            <a:xfrm>
              <a:off x="5073596" y="2014502"/>
              <a:ext cx="839055" cy="83905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09" fontAlgn="base">
                <a:spcBef>
                  <a:spcPct val="0"/>
                </a:spcBef>
                <a:spcAft>
                  <a:spcPct val="0"/>
                </a:spcAft>
              </a:pPr>
              <a:endParaRPr lang="nb-NO" sz="1350">
                <a:solidFill>
                  <a:prstClr val="white"/>
                </a:solidFill>
                <a:latin typeface="Arial"/>
              </a:endParaRPr>
            </a:p>
          </p:txBody>
        </p:sp>
        <p:pic>
          <p:nvPicPr>
            <p:cNvPr id="242" name="Bilde 241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191647" y="2126346"/>
              <a:ext cx="275503" cy="344379"/>
            </a:xfrm>
            <a:prstGeom prst="rect">
              <a:avLst/>
            </a:prstGeom>
          </p:spPr>
        </p:pic>
        <p:pic>
          <p:nvPicPr>
            <p:cNvPr id="243" name="Bilde 242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337935" y="2426964"/>
              <a:ext cx="442410" cy="331807"/>
            </a:xfrm>
            <a:prstGeom prst="rect">
              <a:avLst/>
            </a:prstGeom>
          </p:spPr>
        </p:pic>
      </p:grpSp>
      <p:grpSp>
        <p:nvGrpSpPr>
          <p:cNvPr id="222" name="Gruppe 221"/>
          <p:cNvGrpSpPr/>
          <p:nvPr/>
        </p:nvGrpSpPr>
        <p:grpSpPr>
          <a:xfrm>
            <a:off x="10095909" y="3461916"/>
            <a:ext cx="94706" cy="94706"/>
            <a:chOff x="8795378" y="2362638"/>
            <a:chExt cx="839055" cy="839055"/>
          </a:xfrm>
        </p:grpSpPr>
        <p:sp>
          <p:nvSpPr>
            <p:cNvPr id="238" name="Ellipse 237"/>
            <p:cNvSpPr/>
            <p:nvPr/>
          </p:nvSpPr>
          <p:spPr>
            <a:xfrm>
              <a:off x="8795378" y="2362638"/>
              <a:ext cx="839055" cy="83905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09" fontAlgn="base">
                <a:spcBef>
                  <a:spcPct val="0"/>
                </a:spcBef>
                <a:spcAft>
                  <a:spcPct val="0"/>
                </a:spcAft>
              </a:pPr>
              <a:endParaRPr lang="nb-NO" sz="1350">
                <a:solidFill>
                  <a:prstClr val="white"/>
                </a:solidFill>
                <a:latin typeface="Arial"/>
              </a:endParaRPr>
            </a:p>
          </p:txBody>
        </p:sp>
        <p:pic>
          <p:nvPicPr>
            <p:cNvPr id="239" name="Bilde 238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002008" y="2509488"/>
              <a:ext cx="435937" cy="217969"/>
            </a:xfrm>
            <a:prstGeom prst="rect">
              <a:avLst/>
            </a:prstGeom>
          </p:spPr>
        </p:pic>
        <p:pic>
          <p:nvPicPr>
            <p:cNvPr id="240" name="Bilde 239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050853" y="2765489"/>
              <a:ext cx="367467" cy="367467"/>
            </a:xfrm>
            <a:prstGeom prst="rect">
              <a:avLst/>
            </a:prstGeom>
          </p:spPr>
        </p:pic>
      </p:grpSp>
      <p:cxnSp>
        <p:nvCxnSpPr>
          <p:cNvPr id="223" name="Rett linje 222"/>
          <p:cNvCxnSpPr/>
          <p:nvPr/>
        </p:nvCxnSpPr>
        <p:spPr>
          <a:xfrm>
            <a:off x="9925848" y="3131102"/>
            <a:ext cx="25950" cy="107093"/>
          </a:xfrm>
          <a:prstGeom prst="line">
            <a:avLst/>
          </a:prstGeom>
          <a:ln w="28575">
            <a:solidFill>
              <a:srgbClr val="F9C0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4" name="Rett linje 223"/>
          <p:cNvCxnSpPr/>
          <p:nvPr/>
        </p:nvCxnSpPr>
        <p:spPr>
          <a:xfrm>
            <a:off x="9873097" y="3244869"/>
            <a:ext cx="54846" cy="9510"/>
          </a:xfrm>
          <a:prstGeom prst="line">
            <a:avLst/>
          </a:prstGeom>
          <a:ln w="28575">
            <a:solidFill>
              <a:srgbClr val="F9C0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5" name="Rett linje 224"/>
          <p:cNvCxnSpPr/>
          <p:nvPr/>
        </p:nvCxnSpPr>
        <p:spPr>
          <a:xfrm flipH="1" flipV="1">
            <a:off x="10164210" y="3126982"/>
            <a:ext cx="256674" cy="10342"/>
          </a:xfrm>
          <a:prstGeom prst="line">
            <a:avLst/>
          </a:prstGeom>
          <a:ln w="28575">
            <a:solidFill>
              <a:srgbClr val="F9C0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6" name="Rett linje 225"/>
          <p:cNvCxnSpPr/>
          <p:nvPr/>
        </p:nvCxnSpPr>
        <p:spPr>
          <a:xfrm flipH="1">
            <a:off x="9847754" y="3335869"/>
            <a:ext cx="66191" cy="71295"/>
          </a:xfrm>
          <a:prstGeom prst="line">
            <a:avLst/>
          </a:prstGeom>
          <a:ln w="28575">
            <a:solidFill>
              <a:srgbClr val="F9C0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7" name="Rett linje 226"/>
          <p:cNvCxnSpPr/>
          <p:nvPr/>
        </p:nvCxnSpPr>
        <p:spPr>
          <a:xfrm>
            <a:off x="10125198" y="3395805"/>
            <a:ext cx="18065" cy="66111"/>
          </a:xfrm>
          <a:prstGeom prst="line">
            <a:avLst/>
          </a:prstGeom>
          <a:ln w="28575">
            <a:solidFill>
              <a:srgbClr val="F9C0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8" name="Rett linje 227"/>
          <p:cNvCxnSpPr/>
          <p:nvPr/>
        </p:nvCxnSpPr>
        <p:spPr>
          <a:xfrm>
            <a:off x="10145483" y="3548863"/>
            <a:ext cx="18384" cy="73404"/>
          </a:xfrm>
          <a:prstGeom prst="line">
            <a:avLst/>
          </a:prstGeom>
          <a:ln w="28575">
            <a:solidFill>
              <a:srgbClr val="F9C0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9" name="Rett linje 228"/>
          <p:cNvCxnSpPr/>
          <p:nvPr/>
        </p:nvCxnSpPr>
        <p:spPr>
          <a:xfrm>
            <a:off x="10347765" y="3489544"/>
            <a:ext cx="222306" cy="45191"/>
          </a:xfrm>
          <a:prstGeom prst="line">
            <a:avLst/>
          </a:prstGeom>
          <a:ln w="28575">
            <a:solidFill>
              <a:srgbClr val="F9C0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0" name="Rett linje 229"/>
          <p:cNvCxnSpPr/>
          <p:nvPr/>
        </p:nvCxnSpPr>
        <p:spPr>
          <a:xfrm flipV="1">
            <a:off x="10508008" y="3581550"/>
            <a:ext cx="81454" cy="62810"/>
          </a:xfrm>
          <a:prstGeom prst="line">
            <a:avLst/>
          </a:prstGeom>
          <a:ln w="28575">
            <a:solidFill>
              <a:srgbClr val="F9C0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1" name="Rett linje 230"/>
          <p:cNvCxnSpPr/>
          <p:nvPr/>
        </p:nvCxnSpPr>
        <p:spPr>
          <a:xfrm>
            <a:off x="10374990" y="3311122"/>
            <a:ext cx="75101" cy="87276"/>
          </a:xfrm>
          <a:prstGeom prst="line">
            <a:avLst/>
          </a:prstGeom>
          <a:ln w="28575">
            <a:solidFill>
              <a:srgbClr val="F9C0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Rett linje 231"/>
          <p:cNvCxnSpPr/>
          <p:nvPr/>
        </p:nvCxnSpPr>
        <p:spPr>
          <a:xfrm flipV="1">
            <a:off x="10694290" y="2949784"/>
            <a:ext cx="180066" cy="2612"/>
          </a:xfrm>
          <a:prstGeom prst="line">
            <a:avLst/>
          </a:prstGeom>
          <a:ln w="28575">
            <a:solidFill>
              <a:srgbClr val="F9C0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Rett linje 232"/>
          <p:cNvCxnSpPr/>
          <p:nvPr/>
        </p:nvCxnSpPr>
        <p:spPr>
          <a:xfrm flipV="1">
            <a:off x="9739474" y="3574604"/>
            <a:ext cx="195378" cy="46410"/>
          </a:xfrm>
          <a:prstGeom prst="line">
            <a:avLst/>
          </a:prstGeom>
          <a:ln w="28575">
            <a:solidFill>
              <a:srgbClr val="F9C0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4" name="Rett linje 233"/>
          <p:cNvCxnSpPr/>
          <p:nvPr/>
        </p:nvCxnSpPr>
        <p:spPr>
          <a:xfrm>
            <a:off x="10706300" y="3551563"/>
            <a:ext cx="165739" cy="140363"/>
          </a:xfrm>
          <a:prstGeom prst="line">
            <a:avLst/>
          </a:prstGeom>
          <a:ln w="28575">
            <a:solidFill>
              <a:srgbClr val="F9C0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5" name="Rett linje 234"/>
          <p:cNvCxnSpPr/>
          <p:nvPr/>
        </p:nvCxnSpPr>
        <p:spPr>
          <a:xfrm>
            <a:off x="10087043" y="2823050"/>
            <a:ext cx="6698" cy="262492"/>
          </a:xfrm>
          <a:prstGeom prst="line">
            <a:avLst/>
          </a:prstGeom>
          <a:ln w="28575">
            <a:solidFill>
              <a:srgbClr val="F9C0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6" name="Rett linje 235"/>
          <p:cNvCxnSpPr/>
          <p:nvPr/>
        </p:nvCxnSpPr>
        <p:spPr>
          <a:xfrm flipH="1">
            <a:off x="10147739" y="2876602"/>
            <a:ext cx="237982" cy="238171"/>
          </a:xfrm>
          <a:prstGeom prst="line">
            <a:avLst/>
          </a:prstGeom>
          <a:ln w="28575">
            <a:solidFill>
              <a:srgbClr val="F9C0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7" name="Rett linje 236"/>
          <p:cNvCxnSpPr/>
          <p:nvPr/>
        </p:nvCxnSpPr>
        <p:spPr>
          <a:xfrm>
            <a:off x="10782568" y="3308555"/>
            <a:ext cx="91788" cy="2566"/>
          </a:xfrm>
          <a:prstGeom prst="line">
            <a:avLst/>
          </a:prstGeom>
          <a:ln>
            <a:solidFill>
              <a:srgbClr val="ED0B2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5" name="Gruppe 294"/>
          <p:cNvGrpSpPr/>
          <p:nvPr/>
        </p:nvGrpSpPr>
        <p:grpSpPr>
          <a:xfrm>
            <a:off x="4302066" y="3365482"/>
            <a:ext cx="475047" cy="475047"/>
            <a:chOff x="2584178" y="3995936"/>
            <a:chExt cx="839055" cy="839055"/>
          </a:xfrm>
        </p:grpSpPr>
        <p:sp>
          <p:nvSpPr>
            <p:cNvPr id="296" name="Ellipse 295"/>
            <p:cNvSpPr/>
            <p:nvPr/>
          </p:nvSpPr>
          <p:spPr>
            <a:xfrm>
              <a:off x="2584178" y="3995936"/>
              <a:ext cx="839055" cy="83905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09" fontAlgn="base">
                <a:spcBef>
                  <a:spcPct val="0"/>
                </a:spcBef>
                <a:spcAft>
                  <a:spcPct val="0"/>
                </a:spcAft>
              </a:pPr>
              <a:endParaRPr lang="nb-NO" sz="1350">
                <a:solidFill>
                  <a:prstClr val="white"/>
                </a:solidFill>
                <a:latin typeface="Arial"/>
              </a:endParaRPr>
            </a:p>
          </p:txBody>
        </p:sp>
        <p:pic>
          <p:nvPicPr>
            <p:cNvPr id="297" name="Bilde 296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750851" y="4319662"/>
              <a:ext cx="333553" cy="416941"/>
            </a:xfrm>
            <a:prstGeom prst="rect">
              <a:avLst/>
            </a:prstGeom>
          </p:spPr>
        </p:pic>
        <p:pic>
          <p:nvPicPr>
            <p:cNvPr id="298" name="Bilde 297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2985032" y="4106345"/>
              <a:ext cx="308741" cy="411655"/>
            </a:xfrm>
            <a:prstGeom prst="rect">
              <a:avLst/>
            </a:prstGeom>
          </p:spPr>
        </p:pic>
      </p:grpSp>
      <p:grpSp>
        <p:nvGrpSpPr>
          <p:cNvPr id="299" name="Gruppe 298"/>
          <p:cNvGrpSpPr/>
          <p:nvPr/>
        </p:nvGrpSpPr>
        <p:grpSpPr>
          <a:xfrm>
            <a:off x="4625432" y="3972506"/>
            <a:ext cx="365123" cy="365123"/>
            <a:chOff x="2584178" y="3995936"/>
            <a:chExt cx="839055" cy="839055"/>
          </a:xfrm>
        </p:grpSpPr>
        <p:sp>
          <p:nvSpPr>
            <p:cNvPr id="300" name="Ellipse 299"/>
            <p:cNvSpPr/>
            <p:nvPr/>
          </p:nvSpPr>
          <p:spPr>
            <a:xfrm>
              <a:off x="2584178" y="3995936"/>
              <a:ext cx="839055" cy="83905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09" fontAlgn="base">
                <a:spcBef>
                  <a:spcPct val="0"/>
                </a:spcBef>
                <a:spcAft>
                  <a:spcPct val="0"/>
                </a:spcAft>
              </a:pPr>
              <a:endParaRPr lang="nb-NO" sz="1350">
                <a:solidFill>
                  <a:prstClr val="white"/>
                </a:solidFill>
                <a:latin typeface="Arial"/>
              </a:endParaRPr>
            </a:p>
          </p:txBody>
        </p:sp>
        <p:pic>
          <p:nvPicPr>
            <p:cNvPr id="301" name="Bilde 300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750851" y="4319662"/>
              <a:ext cx="333553" cy="416941"/>
            </a:xfrm>
            <a:prstGeom prst="rect">
              <a:avLst/>
            </a:prstGeom>
          </p:spPr>
        </p:pic>
        <p:pic>
          <p:nvPicPr>
            <p:cNvPr id="302" name="Bilde 301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2985032" y="4106345"/>
              <a:ext cx="308741" cy="411655"/>
            </a:xfrm>
            <a:prstGeom prst="rect">
              <a:avLst/>
            </a:prstGeom>
          </p:spPr>
        </p:pic>
      </p:grpSp>
      <p:grpSp>
        <p:nvGrpSpPr>
          <p:cNvPr id="303" name="Gruppe 302"/>
          <p:cNvGrpSpPr/>
          <p:nvPr/>
        </p:nvGrpSpPr>
        <p:grpSpPr>
          <a:xfrm>
            <a:off x="5025961" y="2698376"/>
            <a:ext cx="286175" cy="286175"/>
            <a:chOff x="2584178" y="3995936"/>
            <a:chExt cx="839055" cy="839055"/>
          </a:xfrm>
        </p:grpSpPr>
        <p:sp>
          <p:nvSpPr>
            <p:cNvPr id="304" name="Ellipse 303"/>
            <p:cNvSpPr/>
            <p:nvPr/>
          </p:nvSpPr>
          <p:spPr>
            <a:xfrm>
              <a:off x="2584178" y="3995936"/>
              <a:ext cx="839055" cy="83905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09" fontAlgn="base">
                <a:spcBef>
                  <a:spcPct val="0"/>
                </a:spcBef>
                <a:spcAft>
                  <a:spcPct val="0"/>
                </a:spcAft>
              </a:pPr>
              <a:endParaRPr lang="nb-NO" sz="1350">
                <a:solidFill>
                  <a:prstClr val="white"/>
                </a:solidFill>
                <a:latin typeface="Arial"/>
              </a:endParaRPr>
            </a:p>
          </p:txBody>
        </p:sp>
        <p:pic>
          <p:nvPicPr>
            <p:cNvPr id="305" name="Bilde 304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750851" y="4319662"/>
              <a:ext cx="333553" cy="416941"/>
            </a:xfrm>
            <a:prstGeom prst="rect">
              <a:avLst/>
            </a:prstGeom>
          </p:spPr>
        </p:pic>
        <p:pic>
          <p:nvPicPr>
            <p:cNvPr id="306" name="Bilde 305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2985032" y="4106345"/>
              <a:ext cx="308741" cy="411655"/>
            </a:xfrm>
            <a:prstGeom prst="rect">
              <a:avLst/>
            </a:prstGeom>
          </p:spPr>
        </p:pic>
      </p:grpSp>
      <p:grpSp>
        <p:nvGrpSpPr>
          <p:cNvPr id="307" name="Gruppe 306"/>
          <p:cNvGrpSpPr/>
          <p:nvPr/>
        </p:nvGrpSpPr>
        <p:grpSpPr>
          <a:xfrm>
            <a:off x="3949792" y="3918832"/>
            <a:ext cx="350830" cy="350830"/>
            <a:chOff x="2584178" y="3995936"/>
            <a:chExt cx="839055" cy="839055"/>
          </a:xfrm>
        </p:grpSpPr>
        <p:sp>
          <p:nvSpPr>
            <p:cNvPr id="308" name="Ellipse 307"/>
            <p:cNvSpPr/>
            <p:nvPr/>
          </p:nvSpPr>
          <p:spPr>
            <a:xfrm>
              <a:off x="2584178" y="3995936"/>
              <a:ext cx="839055" cy="83905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09" fontAlgn="base">
                <a:spcBef>
                  <a:spcPct val="0"/>
                </a:spcBef>
                <a:spcAft>
                  <a:spcPct val="0"/>
                </a:spcAft>
              </a:pPr>
              <a:endParaRPr lang="nb-NO" sz="1350">
                <a:solidFill>
                  <a:prstClr val="white"/>
                </a:solidFill>
                <a:latin typeface="Arial"/>
              </a:endParaRPr>
            </a:p>
          </p:txBody>
        </p:sp>
        <p:pic>
          <p:nvPicPr>
            <p:cNvPr id="309" name="Bilde 308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750851" y="4319662"/>
              <a:ext cx="333553" cy="416941"/>
            </a:xfrm>
            <a:prstGeom prst="rect">
              <a:avLst/>
            </a:prstGeom>
          </p:spPr>
        </p:pic>
        <p:pic>
          <p:nvPicPr>
            <p:cNvPr id="310" name="Bilde 309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2985032" y="4106345"/>
              <a:ext cx="308741" cy="411655"/>
            </a:xfrm>
            <a:prstGeom prst="rect">
              <a:avLst/>
            </a:prstGeom>
          </p:spPr>
        </p:pic>
      </p:grpSp>
      <p:sp>
        <p:nvSpPr>
          <p:cNvPr id="311" name="Ellipse 310"/>
          <p:cNvSpPr/>
          <p:nvPr/>
        </p:nvSpPr>
        <p:spPr>
          <a:xfrm>
            <a:off x="3677597" y="2395710"/>
            <a:ext cx="2446576" cy="2446576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09" fontAlgn="base">
              <a:spcBef>
                <a:spcPct val="0"/>
              </a:spcBef>
              <a:spcAft>
                <a:spcPct val="0"/>
              </a:spcAft>
            </a:pPr>
            <a:endParaRPr lang="nb-NO" sz="1350">
              <a:solidFill>
                <a:prstClr val="white"/>
              </a:solidFill>
              <a:latin typeface="Arial"/>
            </a:endParaRPr>
          </a:p>
        </p:txBody>
      </p:sp>
      <p:grpSp>
        <p:nvGrpSpPr>
          <p:cNvPr id="312" name="Gruppe 311"/>
          <p:cNvGrpSpPr/>
          <p:nvPr/>
        </p:nvGrpSpPr>
        <p:grpSpPr>
          <a:xfrm>
            <a:off x="3863977" y="2967082"/>
            <a:ext cx="377412" cy="377412"/>
            <a:chOff x="2584178" y="3995936"/>
            <a:chExt cx="839055" cy="839055"/>
          </a:xfrm>
        </p:grpSpPr>
        <p:sp>
          <p:nvSpPr>
            <p:cNvPr id="313" name="Ellipse 312"/>
            <p:cNvSpPr/>
            <p:nvPr/>
          </p:nvSpPr>
          <p:spPr>
            <a:xfrm>
              <a:off x="2584178" y="3995936"/>
              <a:ext cx="839055" cy="83905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09" fontAlgn="base">
                <a:spcBef>
                  <a:spcPct val="0"/>
                </a:spcBef>
                <a:spcAft>
                  <a:spcPct val="0"/>
                </a:spcAft>
              </a:pPr>
              <a:endParaRPr lang="nb-NO" sz="1350">
                <a:solidFill>
                  <a:prstClr val="white"/>
                </a:solidFill>
                <a:latin typeface="Arial"/>
              </a:endParaRPr>
            </a:p>
          </p:txBody>
        </p:sp>
        <p:pic>
          <p:nvPicPr>
            <p:cNvPr id="314" name="Bilde 313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750851" y="4319662"/>
              <a:ext cx="333553" cy="416941"/>
            </a:xfrm>
            <a:prstGeom prst="rect">
              <a:avLst/>
            </a:prstGeom>
          </p:spPr>
        </p:pic>
        <p:pic>
          <p:nvPicPr>
            <p:cNvPr id="315" name="Bilde 314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2985032" y="4106345"/>
              <a:ext cx="308741" cy="411655"/>
            </a:xfrm>
            <a:prstGeom prst="rect">
              <a:avLst/>
            </a:prstGeom>
          </p:spPr>
        </p:pic>
      </p:grpSp>
      <p:grpSp>
        <p:nvGrpSpPr>
          <p:cNvPr id="316" name="Gruppe 315"/>
          <p:cNvGrpSpPr/>
          <p:nvPr/>
        </p:nvGrpSpPr>
        <p:grpSpPr>
          <a:xfrm>
            <a:off x="5559202" y="3268467"/>
            <a:ext cx="475047" cy="475047"/>
            <a:chOff x="2584178" y="3995936"/>
            <a:chExt cx="839055" cy="839055"/>
          </a:xfrm>
        </p:grpSpPr>
        <p:sp>
          <p:nvSpPr>
            <p:cNvPr id="317" name="Ellipse 316"/>
            <p:cNvSpPr/>
            <p:nvPr/>
          </p:nvSpPr>
          <p:spPr>
            <a:xfrm>
              <a:off x="2584178" y="3995936"/>
              <a:ext cx="839055" cy="83905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09" fontAlgn="base">
                <a:spcBef>
                  <a:spcPct val="0"/>
                </a:spcBef>
                <a:spcAft>
                  <a:spcPct val="0"/>
                </a:spcAft>
              </a:pPr>
              <a:endParaRPr lang="nb-NO" sz="1350">
                <a:solidFill>
                  <a:prstClr val="white"/>
                </a:solidFill>
                <a:latin typeface="Arial"/>
              </a:endParaRPr>
            </a:p>
          </p:txBody>
        </p:sp>
        <p:pic>
          <p:nvPicPr>
            <p:cNvPr id="318" name="Bilde 317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750851" y="4319662"/>
              <a:ext cx="333553" cy="416941"/>
            </a:xfrm>
            <a:prstGeom prst="rect">
              <a:avLst/>
            </a:prstGeom>
          </p:spPr>
        </p:pic>
        <p:pic>
          <p:nvPicPr>
            <p:cNvPr id="319" name="Bilde 318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2985032" y="4106345"/>
              <a:ext cx="308741" cy="411655"/>
            </a:xfrm>
            <a:prstGeom prst="rect">
              <a:avLst/>
            </a:prstGeom>
          </p:spPr>
        </p:pic>
      </p:grpSp>
      <p:grpSp>
        <p:nvGrpSpPr>
          <p:cNvPr id="320" name="Gruppe 319"/>
          <p:cNvGrpSpPr/>
          <p:nvPr/>
        </p:nvGrpSpPr>
        <p:grpSpPr>
          <a:xfrm>
            <a:off x="5188622" y="4146406"/>
            <a:ext cx="475047" cy="475047"/>
            <a:chOff x="2584178" y="3995936"/>
            <a:chExt cx="839055" cy="839055"/>
          </a:xfrm>
        </p:grpSpPr>
        <p:sp>
          <p:nvSpPr>
            <p:cNvPr id="321" name="Ellipse 320"/>
            <p:cNvSpPr/>
            <p:nvPr/>
          </p:nvSpPr>
          <p:spPr>
            <a:xfrm>
              <a:off x="2584178" y="3995936"/>
              <a:ext cx="839055" cy="83905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09" fontAlgn="base">
                <a:spcBef>
                  <a:spcPct val="0"/>
                </a:spcBef>
                <a:spcAft>
                  <a:spcPct val="0"/>
                </a:spcAft>
              </a:pPr>
              <a:endParaRPr lang="nb-NO" sz="1350">
                <a:solidFill>
                  <a:prstClr val="white"/>
                </a:solidFill>
                <a:latin typeface="Arial"/>
              </a:endParaRPr>
            </a:p>
          </p:txBody>
        </p:sp>
        <p:pic>
          <p:nvPicPr>
            <p:cNvPr id="322" name="Bilde 321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750851" y="4319662"/>
              <a:ext cx="333553" cy="416941"/>
            </a:xfrm>
            <a:prstGeom prst="rect">
              <a:avLst/>
            </a:prstGeom>
          </p:spPr>
        </p:pic>
        <p:pic>
          <p:nvPicPr>
            <p:cNvPr id="323" name="Bilde 322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2985032" y="4106345"/>
              <a:ext cx="308741" cy="411655"/>
            </a:xfrm>
            <a:prstGeom prst="rect">
              <a:avLst/>
            </a:prstGeom>
          </p:spPr>
        </p:pic>
      </p:grpSp>
      <p:grpSp>
        <p:nvGrpSpPr>
          <p:cNvPr id="324" name="Gruppe 323"/>
          <p:cNvGrpSpPr/>
          <p:nvPr/>
        </p:nvGrpSpPr>
        <p:grpSpPr>
          <a:xfrm>
            <a:off x="4444746" y="2812245"/>
            <a:ext cx="475047" cy="475047"/>
            <a:chOff x="2584178" y="3995936"/>
            <a:chExt cx="839055" cy="839055"/>
          </a:xfrm>
        </p:grpSpPr>
        <p:sp>
          <p:nvSpPr>
            <p:cNvPr id="325" name="Ellipse 324"/>
            <p:cNvSpPr/>
            <p:nvPr/>
          </p:nvSpPr>
          <p:spPr>
            <a:xfrm>
              <a:off x="2584178" y="3995936"/>
              <a:ext cx="839055" cy="83905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09" fontAlgn="base">
                <a:spcBef>
                  <a:spcPct val="0"/>
                </a:spcBef>
                <a:spcAft>
                  <a:spcPct val="0"/>
                </a:spcAft>
              </a:pPr>
              <a:endParaRPr lang="nb-NO" sz="1350">
                <a:solidFill>
                  <a:prstClr val="white"/>
                </a:solidFill>
                <a:latin typeface="Arial"/>
              </a:endParaRPr>
            </a:p>
          </p:txBody>
        </p:sp>
        <p:pic>
          <p:nvPicPr>
            <p:cNvPr id="326" name="Bilde 325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750851" y="4319662"/>
              <a:ext cx="333553" cy="416941"/>
            </a:xfrm>
            <a:prstGeom prst="rect">
              <a:avLst/>
            </a:prstGeom>
          </p:spPr>
        </p:pic>
        <p:pic>
          <p:nvPicPr>
            <p:cNvPr id="327" name="Bilde 326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2985032" y="4106345"/>
              <a:ext cx="308741" cy="411655"/>
            </a:xfrm>
            <a:prstGeom prst="rect">
              <a:avLst/>
            </a:prstGeom>
          </p:spPr>
        </p:pic>
      </p:grpSp>
      <p:grpSp>
        <p:nvGrpSpPr>
          <p:cNvPr id="328" name="Gruppe 327"/>
          <p:cNvGrpSpPr/>
          <p:nvPr/>
        </p:nvGrpSpPr>
        <p:grpSpPr>
          <a:xfrm>
            <a:off x="4673059" y="2477670"/>
            <a:ext cx="286175" cy="286175"/>
            <a:chOff x="2584178" y="3995936"/>
            <a:chExt cx="839055" cy="839055"/>
          </a:xfrm>
        </p:grpSpPr>
        <p:sp>
          <p:nvSpPr>
            <p:cNvPr id="329" name="Ellipse 328"/>
            <p:cNvSpPr/>
            <p:nvPr/>
          </p:nvSpPr>
          <p:spPr>
            <a:xfrm>
              <a:off x="2584178" y="3995936"/>
              <a:ext cx="839055" cy="83905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09" fontAlgn="base">
                <a:spcBef>
                  <a:spcPct val="0"/>
                </a:spcBef>
                <a:spcAft>
                  <a:spcPct val="0"/>
                </a:spcAft>
              </a:pPr>
              <a:endParaRPr lang="nb-NO" sz="1350">
                <a:solidFill>
                  <a:prstClr val="white"/>
                </a:solidFill>
                <a:latin typeface="Arial"/>
              </a:endParaRPr>
            </a:p>
          </p:txBody>
        </p:sp>
        <p:pic>
          <p:nvPicPr>
            <p:cNvPr id="330" name="Bilde 329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750851" y="4319662"/>
              <a:ext cx="333553" cy="416941"/>
            </a:xfrm>
            <a:prstGeom prst="rect">
              <a:avLst/>
            </a:prstGeom>
          </p:spPr>
        </p:pic>
        <p:pic>
          <p:nvPicPr>
            <p:cNvPr id="331" name="Bilde 330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2985032" y="4106345"/>
              <a:ext cx="308741" cy="411655"/>
            </a:xfrm>
            <a:prstGeom prst="rect">
              <a:avLst/>
            </a:prstGeom>
          </p:spPr>
        </p:pic>
      </p:grpSp>
      <p:grpSp>
        <p:nvGrpSpPr>
          <p:cNvPr id="332" name="Gruppe 331"/>
          <p:cNvGrpSpPr/>
          <p:nvPr/>
        </p:nvGrpSpPr>
        <p:grpSpPr>
          <a:xfrm>
            <a:off x="5158945" y="3421759"/>
            <a:ext cx="286175" cy="286175"/>
            <a:chOff x="2584178" y="3995936"/>
            <a:chExt cx="839055" cy="839055"/>
          </a:xfrm>
        </p:grpSpPr>
        <p:sp>
          <p:nvSpPr>
            <p:cNvPr id="333" name="Ellipse 332"/>
            <p:cNvSpPr/>
            <p:nvPr/>
          </p:nvSpPr>
          <p:spPr>
            <a:xfrm>
              <a:off x="2584178" y="3995936"/>
              <a:ext cx="839055" cy="83905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09" fontAlgn="base">
                <a:spcBef>
                  <a:spcPct val="0"/>
                </a:spcBef>
                <a:spcAft>
                  <a:spcPct val="0"/>
                </a:spcAft>
              </a:pPr>
              <a:endParaRPr lang="nb-NO" sz="1350">
                <a:solidFill>
                  <a:prstClr val="white"/>
                </a:solidFill>
                <a:latin typeface="Arial"/>
              </a:endParaRPr>
            </a:p>
          </p:txBody>
        </p:sp>
        <p:pic>
          <p:nvPicPr>
            <p:cNvPr id="334" name="Bilde 333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750851" y="4319662"/>
              <a:ext cx="333553" cy="416941"/>
            </a:xfrm>
            <a:prstGeom prst="rect">
              <a:avLst/>
            </a:prstGeom>
          </p:spPr>
        </p:pic>
        <p:pic>
          <p:nvPicPr>
            <p:cNvPr id="335" name="Bilde 334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2985032" y="4106345"/>
              <a:ext cx="308741" cy="411655"/>
            </a:xfrm>
            <a:prstGeom prst="rect">
              <a:avLst/>
            </a:prstGeom>
          </p:spPr>
        </p:pic>
      </p:grpSp>
      <p:grpSp>
        <p:nvGrpSpPr>
          <p:cNvPr id="336" name="Gruppe 335"/>
          <p:cNvGrpSpPr/>
          <p:nvPr/>
        </p:nvGrpSpPr>
        <p:grpSpPr>
          <a:xfrm>
            <a:off x="4312844" y="4337056"/>
            <a:ext cx="286175" cy="286175"/>
            <a:chOff x="2584178" y="3995936"/>
            <a:chExt cx="839055" cy="839055"/>
          </a:xfrm>
        </p:grpSpPr>
        <p:sp>
          <p:nvSpPr>
            <p:cNvPr id="337" name="Ellipse 336"/>
            <p:cNvSpPr/>
            <p:nvPr/>
          </p:nvSpPr>
          <p:spPr>
            <a:xfrm>
              <a:off x="2584178" y="3995936"/>
              <a:ext cx="839055" cy="83905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09" fontAlgn="base">
                <a:spcBef>
                  <a:spcPct val="0"/>
                </a:spcBef>
                <a:spcAft>
                  <a:spcPct val="0"/>
                </a:spcAft>
              </a:pPr>
              <a:endParaRPr lang="nb-NO" sz="1350">
                <a:solidFill>
                  <a:prstClr val="white"/>
                </a:solidFill>
                <a:latin typeface="Arial"/>
              </a:endParaRPr>
            </a:p>
          </p:txBody>
        </p:sp>
        <p:pic>
          <p:nvPicPr>
            <p:cNvPr id="338" name="Bilde 337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750851" y="4319662"/>
              <a:ext cx="333553" cy="416941"/>
            </a:xfrm>
            <a:prstGeom prst="rect">
              <a:avLst/>
            </a:prstGeom>
          </p:spPr>
        </p:pic>
        <p:pic>
          <p:nvPicPr>
            <p:cNvPr id="339" name="Bilde 338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2985032" y="4106345"/>
              <a:ext cx="308741" cy="411655"/>
            </a:xfrm>
            <a:prstGeom prst="rect">
              <a:avLst/>
            </a:prstGeom>
          </p:spPr>
        </p:pic>
      </p:grpSp>
      <p:grpSp>
        <p:nvGrpSpPr>
          <p:cNvPr id="340" name="Gruppe 339"/>
          <p:cNvGrpSpPr/>
          <p:nvPr/>
        </p:nvGrpSpPr>
        <p:grpSpPr>
          <a:xfrm>
            <a:off x="5598637" y="3814686"/>
            <a:ext cx="286175" cy="286175"/>
            <a:chOff x="2584178" y="3995936"/>
            <a:chExt cx="839055" cy="839055"/>
          </a:xfrm>
        </p:grpSpPr>
        <p:sp>
          <p:nvSpPr>
            <p:cNvPr id="341" name="Ellipse 340"/>
            <p:cNvSpPr/>
            <p:nvPr/>
          </p:nvSpPr>
          <p:spPr>
            <a:xfrm>
              <a:off x="2584178" y="3995936"/>
              <a:ext cx="839055" cy="83905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09" fontAlgn="base">
                <a:spcBef>
                  <a:spcPct val="0"/>
                </a:spcBef>
                <a:spcAft>
                  <a:spcPct val="0"/>
                </a:spcAft>
              </a:pPr>
              <a:endParaRPr lang="nb-NO" sz="1350">
                <a:solidFill>
                  <a:prstClr val="white"/>
                </a:solidFill>
                <a:latin typeface="Arial"/>
              </a:endParaRPr>
            </a:p>
          </p:txBody>
        </p:sp>
        <p:pic>
          <p:nvPicPr>
            <p:cNvPr id="342" name="Bilde 341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750851" y="4319662"/>
              <a:ext cx="333553" cy="416941"/>
            </a:xfrm>
            <a:prstGeom prst="rect">
              <a:avLst/>
            </a:prstGeom>
          </p:spPr>
        </p:pic>
        <p:pic>
          <p:nvPicPr>
            <p:cNvPr id="343" name="Bilde 342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2985032" y="4106345"/>
              <a:ext cx="308741" cy="411655"/>
            </a:xfrm>
            <a:prstGeom prst="rect">
              <a:avLst/>
            </a:prstGeom>
          </p:spPr>
        </p:pic>
      </p:grpSp>
      <p:grpSp>
        <p:nvGrpSpPr>
          <p:cNvPr id="344" name="Gruppe 343"/>
          <p:cNvGrpSpPr/>
          <p:nvPr/>
        </p:nvGrpSpPr>
        <p:grpSpPr>
          <a:xfrm>
            <a:off x="5530757" y="2813747"/>
            <a:ext cx="286175" cy="286175"/>
            <a:chOff x="2584178" y="3995936"/>
            <a:chExt cx="839055" cy="839055"/>
          </a:xfrm>
        </p:grpSpPr>
        <p:sp>
          <p:nvSpPr>
            <p:cNvPr id="345" name="Ellipse 344"/>
            <p:cNvSpPr/>
            <p:nvPr/>
          </p:nvSpPr>
          <p:spPr>
            <a:xfrm>
              <a:off x="2584178" y="3995936"/>
              <a:ext cx="839055" cy="83905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09" fontAlgn="base">
                <a:spcBef>
                  <a:spcPct val="0"/>
                </a:spcBef>
                <a:spcAft>
                  <a:spcPct val="0"/>
                </a:spcAft>
              </a:pPr>
              <a:endParaRPr lang="nb-NO" sz="1350">
                <a:solidFill>
                  <a:prstClr val="white"/>
                </a:solidFill>
                <a:latin typeface="Arial"/>
              </a:endParaRPr>
            </a:p>
          </p:txBody>
        </p:sp>
        <p:pic>
          <p:nvPicPr>
            <p:cNvPr id="346" name="Bilde 345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750851" y="4319662"/>
              <a:ext cx="333553" cy="416941"/>
            </a:xfrm>
            <a:prstGeom prst="rect">
              <a:avLst/>
            </a:prstGeom>
          </p:spPr>
        </p:pic>
        <p:pic>
          <p:nvPicPr>
            <p:cNvPr id="347" name="Bilde 346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2985032" y="4106345"/>
              <a:ext cx="308741" cy="411655"/>
            </a:xfrm>
            <a:prstGeom prst="rect">
              <a:avLst/>
            </a:prstGeom>
          </p:spPr>
        </p:pic>
      </p:grpSp>
      <p:sp>
        <p:nvSpPr>
          <p:cNvPr id="165" name="Friform 164"/>
          <p:cNvSpPr/>
          <p:nvPr/>
        </p:nvSpPr>
        <p:spPr>
          <a:xfrm rot="12992077">
            <a:off x="3616175" y="3671791"/>
            <a:ext cx="1071057" cy="169435"/>
          </a:xfrm>
          <a:custGeom>
            <a:avLst/>
            <a:gdLst>
              <a:gd name="connsiteX0" fmla="*/ 0 w 1206500"/>
              <a:gd name="connsiteY0" fmla="*/ 0 h 482900"/>
              <a:gd name="connsiteX1" fmla="*/ 393700 w 1206500"/>
              <a:gd name="connsiteY1" fmla="*/ 482600 h 482900"/>
              <a:gd name="connsiteX2" fmla="*/ 787400 w 1206500"/>
              <a:gd name="connsiteY2" fmla="*/ 76200 h 482900"/>
              <a:gd name="connsiteX3" fmla="*/ 1206500 w 1206500"/>
              <a:gd name="connsiteY3" fmla="*/ 330200 h 48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06500" h="482900">
                <a:moveTo>
                  <a:pt x="0" y="0"/>
                </a:moveTo>
                <a:cubicBezTo>
                  <a:pt x="131233" y="234950"/>
                  <a:pt x="262467" y="469900"/>
                  <a:pt x="393700" y="482600"/>
                </a:cubicBezTo>
                <a:cubicBezTo>
                  <a:pt x="524933" y="495300"/>
                  <a:pt x="651933" y="101600"/>
                  <a:pt x="787400" y="76200"/>
                </a:cubicBezTo>
                <a:cubicBezTo>
                  <a:pt x="922867" y="50800"/>
                  <a:pt x="1206500" y="330200"/>
                  <a:pt x="1206500" y="330200"/>
                </a:cubicBezTo>
              </a:path>
            </a:pathLst>
          </a:custGeom>
          <a:noFill/>
          <a:ln w="38100">
            <a:solidFill>
              <a:srgbClr val="ED0B2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09" fontAlgn="base">
              <a:spcBef>
                <a:spcPct val="0"/>
              </a:spcBef>
              <a:spcAft>
                <a:spcPct val="0"/>
              </a:spcAft>
            </a:pPr>
            <a:endParaRPr lang="nb-NO" sz="1350">
              <a:solidFill>
                <a:prstClr val="white"/>
              </a:solidFill>
              <a:latin typeface="Arial"/>
            </a:endParaRPr>
          </a:p>
        </p:txBody>
      </p:sp>
      <p:sp>
        <p:nvSpPr>
          <p:cNvPr id="187" name="Bred bue 186"/>
          <p:cNvSpPr/>
          <p:nvPr/>
        </p:nvSpPr>
        <p:spPr>
          <a:xfrm rot="18779701">
            <a:off x="3827353" y="3476387"/>
            <a:ext cx="479783" cy="479783"/>
          </a:xfrm>
          <a:prstGeom prst="blockArc">
            <a:avLst>
              <a:gd name="adj1" fmla="val 10800000"/>
              <a:gd name="adj2" fmla="val 21415300"/>
              <a:gd name="adj3" fmla="val 1303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09" fontAlgn="base">
              <a:spcBef>
                <a:spcPct val="0"/>
              </a:spcBef>
              <a:spcAft>
                <a:spcPct val="0"/>
              </a:spcAft>
            </a:pPr>
            <a:endParaRPr lang="nb-NO" sz="135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348" name="Bilde 347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42337" y="3806630"/>
            <a:ext cx="922063" cy="922063"/>
          </a:xfrm>
          <a:prstGeom prst="rect">
            <a:avLst/>
          </a:prstGeom>
        </p:spPr>
      </p:pic>
      <p:sp>
        <p:nvSpPr>
          <p:cNvPr id="293" name="Rektangel 292"/>
          <p:cNvSpPr/>
          <p:nvPr/>
        </p:nvSpPr>
        <p:spPr>
          <a:xfrm>
            <a:off x="3814018" y="5055214"/>
            <a:ext cx="2262159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685709" fontAlgn="base">
              <a:spcBef>
                <a:spcPct val="0"/>
              </a:spcBef>
              <a:spcAft>
                <a:spcPct val="0"/>
              </a:spcAft>
            </a:pPr>
            <a:r>
              <a:rPr lang="nb-NO" sz="1350" dirty="0">
                <a:solidFill>
                  <a:prstClr val="black"/>
                </a:solidFill>
                <a:latin typeface="Arial" charset="0"/>
                <a:ea typeface="MS PGothic" charset="0"/>
              </a:rPr>
              <a:t>IVERKSETTE KONKRETE</a:t>
            </a:r>
          </a:p>
          <a:p>
            <a:pPr algn="ctr" defTabSz="685709" fontAlgn="base">
              <a:spcBef>
                <a:spcPct val="0"/>
              </a:spcBef>
              <a:spcAft>
                <a:spcPct val="0"/>
              </a:spcAft>
            </a:pPr>
            <a:r>
              <a:rPr lang="nb-NO" sz="1350" dirty="0">
                <a:solidFill>
                  <a:prstClr val="black"/>
                </a:solidFill>
                <a:latin typeface="Arial" charset="0"/>
                <a:ea typeface="MS PGothic" charset="0"/>
              </a:rPr>
              <a:t>VIRKEMIDLER</a:t>
            </a:r>
          </a:p>
        </p:txBody>
      </p:sp>
    </p:spTree>
    <p:extLst>
      <p:ext uri="{BB962C8B-B14F-4D97-AF65-F5344CB8AC3E}">
        <p14:creationId xmlns:p14="http://schemas.microsoft.com/office/powerpoint/2010/main" val="337030339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E462A3E-5D6B-7940-AA09-725D828FC6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924" y="486495"/>
            <a:ext cx="3865051" cy="900322"/>
          </a:xfrm>
        </p:spPr>
        <p:txBody>
          <a:bodyPr/>
          <a:lstStyle/>
          <a:p>
            <a:r>
              <a:rPr lang="en-GB" dirty="0">
                <a:solidFill>
                  <a:srgbClr val="0092D5"/>
                </a:solidFill>
              </a:rPr>
              <a:t>Smart City Themes: </a:t>
            </a:r>
            <a:r>
              <a:rPr lang="en-GB" dirty="0"/>
              <a:t>Our 4 main focus areas</a:t>
            </a:r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0F3975AB-E69E-BB43-906D-BDC860407825}"/>
              </a:ext>
            </a:extLst>
          </p:cNvPr>
          <p:cNvSpPr/>
          <p:nvPr/>
        </p:nvSpPr>
        <p:spPr>
          <a:xfrm>
            <a:off x="4948612" y="939751"/>
            <a:ext cx="2294776" cy="1565847"/>
          </a:xfrm>
          <a:prstGeom prst="rect">
            <a:avLst/>
          </a:prstGeom>
          <a:noFill/>
          <a:ln w="25400">
            <a:solidFill>
              <a:srgbClr val="0092D5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09" fontAlgn="base">
              <a:spcBef>
                <a:spcPct val="0"/>
              </a:spcBef>
              <a:spcAft>
                <a:spcPct val="0"/>
              </a:spcAft>
            </a:pPr>
            <a:endParaRPr lang="nb-NO" sz="1350">
              <a:solidFill>
                <a:prstClr val="white"/>
              </a:solidFill>
              <a:latin typeface="Arial"/>
            </a:endParaRPr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923010E2-F8B5-824E-9A47-DA264A197623}"/>
              </a:ext>
            </a:extLst>
          </p:cNvPr>
          <p:cNvSpPr/>
          <p:nvPr/>
        </p:nvSpPr>
        <p:spPr>
          <a:xfrm>
            <a:off x="1109672" y="4125618"/>
            <a:ext cx="2294776" cy="1565847"/>
          </a:xfrm>
          <a:prstGeom prst="rect">
            <a:avLst/>
          </a:prstGeom>
          <a:noFill/>
          <a:ln w="25400">
            <a:solidFill>
              <a:srgbClr val="0092D5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8981" tIns="161984" rIns="188981" bIns="134987" rtlCol="0" anchor="t"/>
          <a:lstStyle/>
          <a:p>
            <a:pPr algn="ctr" defTabSz="685709" fontAlgn="base">
              <a:spcBef>
                <a:spcPct val="0"/>
              </a:spcBef>
              <a:spcAft>
                <a:spcPct val="0"/>
              </a:spcAft>
            </a:pPr>
            <a:r>
              <a:rPr lang="en-GB" sz="1500" dirty="0">
                <a:solidFill>
                  <a:srgbClr val="FFC000"/>
                </a:solidFill>
                <a:latin typeface="Arial"/>
              </a:rPr>
              <a:t>ACTIVE CITIZENSHIP AND KNOWHOW</a:t>
            </a:r>
          </a:p>
          <a:p>
            <a:pPr algn="ctr" defTabSz="685709" fontAlgn="base">
              <a:spcBef>
                <a:spcPts val="900"/>
              </a:spcBef>
              <a:spcAft>
                <a:spcPct val="0"/>
              </a:spcAft>
            </a:pPr>
            <a:r>
              <a:rPr lang="en-GB" sz="1200" dirty="0">
                <a:solidFill>
                  <a:prstClr val="black"/>
                </a:solidFill>
                <a:latin typeface="Arial"/>
              </a:rPr>
              <a:t>Diverse and inclusive learning communities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29059E8A-ED76-9241-A9A3-C32F59DBDEF5}"/>
              </a:ext>
            </a:extLst>
          </p:cNvPr>
          <p:cNvSpPr/>
          <p:nvPr/>
        </p:nvSpPr>
        <p:spPr>
          <a:xfrm>
            <a:off x="3667467" y="4125618"/>
            <a:ext cx="2294776" cy="1565847"/>
          </a:xfrm>
          <a:prstGeom prst="rect">
            <a:avLst/>
          </a:prstGeom>
          <a:noFill/>
          <a:ln w="25400">
            <a:solidFill>
              <a:srgbClr val="0092D5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8981" tIns="161984" rIns="188981" bIns="134987" rtlCol="0" anchor="t"/>
          <a:lstStyle/>
          <a:p>
            <a:pPr algn="ctr" defTabSz="685709" fontAlgn="base">
              <a:spcBef>
                <a:spcPct val="0"/>
              </a:spcBef>
              <a:spcAft>
                <a:spcPct val="0"/>
              </a:spcAft>
            </a:pPr>
            <a:r>
              <a:rPr lang="en-GB" sz="1500" dirty="0">
                <a:solidFill>
                  <a:srgbClr val="0092D5"/>
                </a:solidFill>
                <a:latin typeface="Arial"/>
              </a:rPr>
              <a:t>ON THE MOVE</a:t>
            </a:r>
          </a:p>
          <a:p>
            <a:pPr algn="ctr" defTabSz="685709" fontAlgn="base">
              <a:spcBef>
                <a:spcPts val="900"/>
              </a:spcBef>
              <a:spcAft>
                <a:spcPct val="0"/>
              </a:spcAft>
            </a:pPr>
            <a:r>
              <a:rPr lang="en-GB" sz="1200" dirty="0">
                <a:solidFill>
                  <a:prstClr val="black"/>
                </a:solidFill>
                <a:latin typeface="Arial"/>
              </a:rPr>
              <a:t>Blue and green mobility and transport solutions</a:t>
            </a: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3269A919-8F2B-5F44-B41B-15090C970909}"/>
              </a:ext>
            </a:extLst>
          </p:cNvPr>
          <p:cNvSpPr/>
          <p:nvPr/>
        </p:nvSpPr>
        <p:spPr>
          <a:xfrm>
            <a:off x="6226285" y="4125618"/>
            <a:ext cx="2294776" cy="1565847"/>
          </a:xfrm>
          <a:prstGeom prst="rect">
            <a:avLst/>
          </a:prstGeom>
          <a:noFill/>
          <a:ln w="25400">
            <a:solidFill>
              <a:srgbClr val="0092D5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8981" tIns="161984" rIns="188981" bIns="134987" rtlCol="0" anchor="t"/>
          <a:lstStyle/>
          <a:p>
            <a:pPr algn="ctr" defTabSz="685709" fontAlgn="base">
              <a:spcBef>
                <a:spcPct val="0"/>
              </a:spcBef>
              <a:spcAft>
                <a:spcPct val="0"/>
              </a:spcAft>
            </a:pPr>
            <a:r>
              <a:rPr lang="en-GB" sz="1500" dirty="0">
                <a:solidFill>
                  <a:srgbClr val="DC0B28"/>
                </a:solidFill>
                <a:latin typeface="Arial"/>
              </a:rPr>
              <a:t>URBAN ENERGY</a:t>
            </a:r>
          </a:p>
          <a:p>
            <a:pPr algn="ctr" defTabSz="685709" fontAlgn="base">
              <a:spcBef>
                <a:spcPts val="900"/>
              </a:spcBef>
              <a:spcAft>
                <a:spcPct val="0"/>
              </a:spcAft>
            </a:pPr>
            <a:r>
              <a:rPr lang="en-GB" sz="1200" dirty="0">
                <a:solidFill>
                  <a:prstClr val="black"/>
                </a:solidFill>
                <a:latin typeface="Arial"/>
              </a:rPr>
              <a:t>The renewable transformation challenge; Smart energy concepts for a cleaner and leaner future</a:t>
            </a: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9C191517-1186-9E4E-91B2-084528229EAE}"/>
              </a:ext>
            </a:extLst>
          </p:cNvPr>
          <p:cNvSpPr/>
          <p:nvPr/>
        </p:nvSpPr>
        <p:spPr>
          <a:xfrm>
            <a:off x="8787552" y="4125618"/>
            <a:ext cx="2294776" cy="1565847"/>
          </a:xfrm>
          <a:prstGeom prst="rect">
            <a:avLst/>
          </a:prstGeom>
          <a:noFill/>
          <a:ln w="25400">
            <a:solidFill>
              <a:srgbClr val="0092D5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8981" tIns="161984" rIns="188981" bIns="134987" rtlCol="0" anchor="t"/>
          <a:lstStyle/>
          <a:p>
            <a:pPr algn="ctr" defTabSz="685709" fontAlgn="base">
              <a:spcBef>
                <a:spcPct val="0"/>
              </a:spcBef>
              <a:spcAft>
                <a:spcPct val="0"/>
              </a:spcAft>
            </a:pPr>
            <a:r>
              <a:rPr lang="nb-NO" sz="1500" dirty="0">
                <a:solidFill>
                  <a:srgbClr val="17428B"/>
                </a:solidFill>
                <a:latin typeface="Arial"/>
              </a:rPr>
              <a:t>SPACES AND PLACES</a:t>
            </a:r>
          </a:p>
          <a:p>
            <a:pPr algn="ctr" defTabSz="685709" fontAlgn="base">
              <a:spcBef>
                <a:spcPts val="900"/>
              </a:spcBef>
              <a:spcAft>
                <a:spcPct val="0"/>
              </a:spcAft>
            </a:pPr>
            <a:r>
              <a:rPr lang="en" sz="1200" dirty="0">
                <a:solidFill>
                  <a:prstClr val="black"/>
                </a:solidFill>
                <a:latin typeface="Arial"/>
              </a:rPr>
              <a:t>Reinventing our human-made surroundings</a:t>
            </a:r>
          </a:p>
        </p:txBody>
      </p:sp>
      <p:sp>
        <p:nvSpPr>
          <p:cNvPr id="10" name="TekstSylinder 9">
            <a:extLst>
              <a:ext uri="{FF2B5EF4-FFF2-40B4-BE49-F238E27FC236}">
                <a16:creationId xmlns:a16="http://schemas.microsoft.com/office/drawing/2014/main" id="{8D47CCFB-20BD-4D40-9A71-08ED68166105}"/>
              </a:ext>
            </a:extLst>
          </p:cNvPr>
          <p:cNvSpPr txBox="1"/>
          <p:nvPr/>
        </p:nvSpPr>
        <p:spPr>
          <a:xfrm>
            <a:off x="2257058" y="2890299"/>
            <a:ext cx="767788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709" fontAlgn="base">
              <a:spcBef>
                <a:spcPct val="0"/>
              </a:spcBef>
              <a:spcAft>
                <a:spcPct val="0"/>
              </a:spcAft>
            </a:pPr>
            <a:r>
              <a:rPr lang="en-GB" sz="1350" b="1" dirty="0">
                <a:solidFill>
                  <a:prstClr val="black"/>
                </a:solidFill>
                <a:latin typeface="Arial" charset="0"/>
                <a:ea typeface="MS PGothic" charset="0"/>
              </a:rPr>
              <a:t>Projects, innovative technology, policy initiatives, programs, research, analysis and complete solutions that demonstrate how core Smart City challenges can be solved:</a:t>
            </a:r>
          </a:p>
        </p:txBody>
      </p:sp>
      <p:cxnSp>
        <p:nvCxnSpPr>
          <p:cNvPr id="13" name="Rett linje 12">
            <a:extLst>
              <a:ext uri="{FF2B5EF4-FFF2-40B4-BE49-F238E27FC236}">
                <a16:creationId xmlns:a16="http://schemas.microsoft.com/office/drawing/2014/main" id="{D5E0C86C-BA2D-034F-825E-86F0DC602F5A}"/>
              </a:ext>
            </a:extLst>
          </p:cNvPr>
          <p:cNvCxnSpPr/>
          <p:nvPr/>
        </p:nvCxnSpPr>
        <p:spPr>
          <a:xfrm>
            <a:off x="2257060" y="3829729"/>
            <a:ext cx="7677881" cy="0"/>
          </a:xfrm>
          <a:prstGeom prst="line">
            <a:avLst/>
          </a:prstGeom>
          <a:ln w="31750">
            <a:solidFill>
              <a:srgbClr val="0092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kstSylinder 14">
            <a:extLst>
              <a:ext uri="{FF2B5EF4-FFF2-40B4-BE49-F238E27FC236}">
                <a16:creationId xmlns:a16="http://schemas.microsoft.com/office/drawing/2014/main" id="{1361A0C3-0F31-0D46-9AE3-6596789D0DB3}"/>
              </a:ext>
            </a:extLst>
          </p:cNvPr>
          <p:cNvSpPr txBox="1"/>
          <p:nvPr/>
        </p:nvSpPr>
        <p:spPr>
          <a:xfrm>
            <a:off x="2207945" y="6030822"/>
            <a:ext cx="777610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709" fontAlgn="base">
              <a:spcBef>
                <a:spcPct val="0"/>
              </a:spcBef>
              <a:spcAft>
                <a:spcPct val="0"/>
              </a:spcAft>
            </a:pPr>
            <a:r>
              <a:rPr lang="en-GB" sz="1200" b="1" dirty="0">
                <a:solidFill>
                  <a:prstClr val="black"/>
                </a:solidFill>
                <a:latin typeface="Arial" charset="0"/>
                <a:ea typeface="MS PGothic" charset="0"/>
              </a:rPr>
              <a:t>KPI’s: applicability, impact, sustainability and scalability</a:t>
            </a:r>
          </a:p>
        </p:txBody>
      </p:sp>
      <p:cxnSp>
        <p:nvCxnSpPr>
          <p:cNvPr id="17" name="Rett linje 16">
            <a:extLst>
              <a:ext uri="{FF2B5EF4-FFF2-40B4-BE49-F238E27FC236}">
                <a16:creationId xmlns:a16="http://schemas.microsoft.com/office/drawing/2014/main" id="{6ECA79D9-22CE-B74E-9FCD-AACA1E751137}"/>
              </a:ext>
            </a:extLst>
          </p:cNvPr>
          <p:cNvCxnSpPr/>
          <p:nvPr/>
        </p:nvCxnSpPr>
        <p:spPr>
          <a:xfrm>
            <a:off x="2257060" y="3828305"/>
            <a:ext cx="0" cy="297494"/>
          </a:xfrm>
          <a:prstGeom prst="line">
            <a:avLst/>
          </a:prstGeom>
          <a:ln w="31750">
            <a:solidFill>
              <a:srgbClr val="0092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Rett linje 17">
            <a:extLst>
              <a:ext uri="{FF2B5EF4-FFF2-40B4-BE49-F238E27FC236}">
                <a16:creationId xmlns:a16="http://schemas.microsoft.com/office/drawing/2014/main" id="{44F5E7F8-1A95-5540-83F7-42435B796B4E}"/>
              </a:ext>
            </a:extLst>
          </p:cNvPr>
          <p:cNvCxnSpPr/>
          <p:nvPr/>
        </p:nvCxnSpPr>
        <p:spPr>
          <a:xfrm>
            <a:off x="4814855" y="3828305"/>
            <a:ext cx="0" cy="297494"/>
          </a:xfrm>
          <a:prstGeom prst="line">
            <a:avLst/>
          </a:prstGeom>
          <a:ln w="31750">
            <a:solidFill>
              <a:srgbClr val="0092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Rett linje 18">
            <a:extLst>
              <a:ext uri="{FF2B5EF4-FFF2-40B4-BE49-F238E27FC236}">
                <a16:creationId xmlns:a16="http://schemas.microsoft.com/office/drawing/2014/main" id="{18021EAB-83D5-9B46-A42C-15F1C8323145}"/>
              </a:ext>
            </a:extLst>
          </p:cNvPr>
          <p:cNvCxnSpPr/>
          <p:nvPr/>
        </p:nvCxnSpPr>
        <p:spPr>
          <a:xfrm>
            <a:off x="7371330" y="3828305"/>
            <a:ext cx="0" cy="297494"/>
          </a:xfrm>
          <a:prstGeom prst="line">
            <a:avLst/>
          </a:prstGeom>
          <a:ln w="31750">
            <a:solidFill>
              <a:srgbClr val="0092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Rett linje 19">
            <a:extLst>
              <a:ext uri="{FF2B5EF4-FFF2-40B4-BE49-F238E27FC236}">
                <a16:creationId xmlns:a16="http://schemas.microsoft.com/office/drawing/2014/main" id="{6B95EA93-B1CD-8647-9F03-483F03EFB600}"/>
              </a:ext>
            </a:extLst>
          </p:cNvPr>
          <p:cNvCxnSpPr/>
          <p:nvPr/>
        </p:nvCxnSpPr>
        <p:spPr>
          <a:xfrm>
            <a:off x="9934940" y="3828305"/>
            <a:ext cx="0" cy="297494"/>
          </a:xfrm>
          <a:prstGeom prst="line">
            <a:avLst/>
          </a:prstGeom>
          <a:ln w="31750">
            <a:solidFill>
              <a:srgbClr val="0092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Rett linje 22">
            <a:extLst>
              <a:ext uri="{FF2B5EF4-FFF2-40B4-BE49-F238E27FC236}">
                <a16:creationId xmlns:a16="http://schemas.microsoft.com/office/drawing/2014/main" id="{A966380E-263B-4045-B6D3-67938D032452}"/>
              </a:ext>
            </a:extLst>
          </p:cNvPr>
          <p:cNvCxnSpPr>
            <a:cxnSpLocks/>
          </p:cNvCxnSpPr>
          <p:nvPr/>
        </p:nvCxnSpPr>
        <p:spPr>
          <a:xfrm>
            <a:off x="6096000" y="3530812"/>
            <a:ext cx="0" cy="297494"/>
          </a:xfrm>
          <a:prstGeom prst="line">
            <a:avLst/>
          </a:prstGeom>
          <a:ln w="31750">
            <a:solidFill>
              <a:srgbClr val="0092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Rett linje 24">
            <a:extLst>
              <a:ext uri="{FF2B5EF4-FFF2-40B4-BE49-F238E27FC236}">
                <a16:creationId xmlns:a16="http://schemas.microsoft.com/office/drawing/2014/main" id="{8A326B43-6FDD-2746-86E9-C3711F594005}"/>
              </a:ext>
            </a:extLst>
          </p:cNvPr>
          <p:cNvCxnSpPr>
            <a:cxnSpLocks/>
          </p:cNvCxnSpPr>
          <p:nvPr/>
        </p:nvCxnSpPr>
        <p:spPr>
          <a:xfrm>
            <a:off x="6096000" y="2505597"/>
            <a:ext cx="0" cy="297494"/>
          </a:xfrm>
          <a:prstGeom prst="line">
            <a:avLst/>
          </a:prstGeom>
          <a:ln w="31750">
            <a:solidFill>
              <a:srgbClr val="0092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Bilde 25">
            <a:extLst>
              <a:ext uri="{FF2B5EF4-FFF2-40B4-BE49-F238E27FC236}">
                <a16:creationId xmlns:a16="http://schemas.microsoft.com/office/drawing/2014/main" id="{CA30E6F7-EDCA-2041-A78C-C1B622B00E4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50954" y="1272814"/>
            <a:ext cx="1490089" cy="931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611941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DCF14896-E958-C34D-AC66-C2E1AD216F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924" y="395526"/>
            <a:ext cx="3811050" cy="900322"/>
          </a:xfrm>
        </p:spPr>
        <p:txBody>
          <a:bodyPr/>
          <a:lstStyle/>
          <a:p>
            <a:r>
              <a:rPr lang="en-GB" dirty="0"/>
              <a:t>Building a robust</a:t>
            </a:r>
            <a:br>
              <a:rPr lang="en-GB" dirty="0"/>
            </a:br>
            <a:r>
              <a:rPr lang="en-GB" dirty="0">
                <a:solidFill>
                  <a:srgbClr val="0092D5"/>
                </a:solidFill>
              </a:rPr>
              <a:t>Smart City Ecosystem </a:t>
            </a:r>
          </a:p>
        </p:txBody>
      </p:sp>
      <p:grpSp>
        <p:nvGrpSpPr>
          <p:cNvPr id="3" name="Gruppe 2">
            <a:extLst>
              <a:ext uri="{FF2B5EF4-FFF2-40B4-BE49-F238E27FC236}">
                <a16:creationId xmlns:a16="http://schemas.microsoft.com/office/drawing/2014/main" id="{8BD1CB8C-4167-2540-A770-608F7A3C3AF3}"/>
              </a:ext>
            </a:extLst>
          </p:cNvPr>
          <p:cNvGrpSpPr/>
          <p:nvPr/>
        </p:nvGrpSpPr>
        <p:grpSpPr>
          <a:xfrm>
            <a:off x="2639954" y="74463"/>
            <a:ext cx="6945516" cy="6648581"/>
            <a:chOff x="3520282" y="98848"/>
            <a:chExt cx="9261593" cy="8865640"/>
          </a:xfrm>
        </p:grpSpPr>
        <p:pic>
          <p:nvPicPr>
            <p:cNvPr id="5" name="Bilde 4" descr="Et bilde som inneholder elektronikk&#10;&#10;&#10;&#10;Automatisk generert beskrivelse">
              <a:extLst>
                <a:ext uri="{FF2B5EF4-FFF2-40B4-BE49-F238E27FC236}">
                  <a16:creationId xmlns:a16="http://schemas.microsoft.com/office/drawing/2014/main" id="{D4700C93-452F-D844-B1E5-D3BC9EFB166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42812" y="3308748"/>
              <a:ext cx="3171965" cy="3171965"/>
            </a:xfrm>
            <a:prstGeom prst="rect">
              <a:avLst/>
            </a:prstGeom>
          </p:spPr>
        </p:pic>
        <p:sp>
          <p:nvSpPr>
            <p:cNvPr id="6" name="Ellipse 5">
              <a:extLst>
                <a:ext uri="{FF2B5EF4-FFF2-40B4-BE49-F238E27FC236}">
                  <a16:creationId xmlns:a16="http://schemas.microsoft.com/office/drawing/2014/main" id="{B02D7B82-0A8B-AE4D-9CC0-DE625F09BA37}"/>
                </a:ext>
              </a:extLst>
            </p:cNvPr>
            <p:cNvSpPr/>
            <p:nvPr/>
          </p:nvSpPr>
          <p:spPr>
            <a:xfrm>
              <a:off x="6542812" y="98848"/>
              <a:ext cx="3068905" cy="3112419"/>
            </a:xfrm>
            <a:prstGeom prst="ellipse">
              <a:avLst/>
            </a:prstGeom>
            <a:noFill/>
            <a:ln>
              <a:solidFill>
                <a:srgbClr val="0092D5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685709" fontAlgn="base">
                <a:spcBef>
                  <a:spcPts val="450"/>
                </a:spcBef>
                <a:spcAft>
                  <a:spcPct val="0"/>
                </a:spcAft>
              </a:pPr>
              <a:r>
                <a:rPr lang="en" sz="975" b="1" dirty="0">
                  <a:solidFill>
                    <a:prstClr val="black"/>
                  </a:solidFill>
                  <a:latin typeface="Arial"/>
                </a:rPr>
                <a:t>THE EXPOS &amp; EVENTS</a:t>
              </a:r>
            </a:p>
            <a:p>
              <a:pPr algn="ctr" defTabSz="685709" fontAlgn="base">
                <a:spcBef>
                  <a:spcPts val="450"/>
                </a:spcBef>
                <a:spcAft>
                  <a:spcPct val="0"/>
                </a:spcAft>
              </a:pPr>
              <a:r>
                <a:rPr lang="en" sz="975" b="1" dirty="0">
                  <a:solidFill>
                    <a:prstClr val="black"/>
                  </a:solidFill>
                  <a:latin typeface="Arial"/>
                </a:rPr>
                <a:t>Nordic Edge Expo </a:t>
              </a:r>
              <a:r>
                <a:rPr lang="en" sz="975" dirty="0">
                  <a:solidFill>
                    <a:prstClr val="black"/>
                  </a:solidFill>
                  <a:latin typeface="Arial"/>
                </a:rPr>
                <a:t>- the largest smart city conference and exhibition in the Nordics</a:t>
              </a:r>
            </a:p>
            <a:p>
              <a:pPr algn="ctr" defTabSz="685709" fontAlgn="base">
                <a:spcBef>
                  <a:spcPts val="450"/>
                </a:spcBef>
                <a:spcAft>
                  <a:spcPct val="0"/>
                </a:spcAft>
              </a:pPr>
              <a:r>
                <a:rPr lang="en" sz="975" b="1" dirty="0">
                  <a:solidFill>
                    <a:prstClr val="black"/>
                  </a:solidFill>
                  <a:latin typeface="Arial"/>
                </a:rPr>
                <a:t>Nordic Edge China </a:t>
              </a:r>
              <a:r>
                <a:rPr lang="en" sz="975" dirty="0">
                  <a:solidFill>
                    <a:prstClr val="black"/>
                  </a:solidFill>
                  <a:latin typeface="Arial"/>
                </a:rPr>
                <a:t>(Beijing)</a:t>
              </a:r>
              <a:br>
                <a:rPr lang="en" sz="975" dirty="0">
                  <a:solidFill>
                    <a:prstClr val="black"/>
                  </a:solidFill>
                  <a:latin typeface="Arial"/>
                </a:rPr>
              </a:br>
              <a:r>
                <a:rPr lang="en" sz="975" b="1" dirty="0">
                  <a:solidFill>
                    <a:prstClr val="black"/>
                  </a:solidFill>
                  <a:latin typeface="Arial"/>
                </a:rPr>
                <a:t>Nordic Edge USA </a:t>
              </a:r>
              <a:r>
                <a:rPr lang="en" sz="975" dirty="0">
                  <a:solidFill>
                    <a:prstClr val="black"/>
                  </a:solidFill>
                  <a:latin typeface="Arial"/>
                </a:rPr>
                <a:t>(Washington)</a:t>
              </a:r>
            </a:p>
            <a:p>
              <a:pPr algn="ctr" defTabSz="685709" fontAlgn="base">
                <a:spcBef>
                  <a:spcPts val="450"/>
                </a:spcBef>
                <a:spcAft>
                  <a:spcPct val="0"/>
                </a:spcAft>
              </a:pPr>
              <a:r>
                <a:rPr lang="en" sz="975" dirty="0">
                  <a:solidFill>
                    <a:prstClr val="black"/>
                  </a:solidFill>
                  <a:latin typeface="Arial"/>
                </a:rPr>
                <a:t>Matchmaking events, breakfast meetings, networking sessions, product presentations.</a:t>
              </a:r>
            </a:p>
          </p:txBody>
        </p:sp>
        <p:sp>
          <p:nvSpPr>
            <p:cNvPr id="7" name="Ellipse 6">
              <a:extLst>
                <a:ext uri="{FF2B5EF4-FFF2-40B4-BE49-F238E27FC236}">
                  <a16:creationId xmlns:a16="http://schemas.microsoft.com/office/drawing/2014/main" id="{B039373F-6F67-6741-8EEE-4AB90C5F9C14}"/>
                </a:ext>
              </a:extLst>
            </p:cNvPr>
            <p:cNvSpPr/>
            <p:nvPr/>
          </p:nvSpPr>
          <p:spPr>
            <a:xfrm>
              <a:off x="9712970" y="2251669"/>
              <a:ext cx="3068905" cy="3112419"/>
            </a:xfrm>
            <a:prstGeom prst="ellipse">
              <a:avLst/>
            </a:prstGeom>
            <a:noFill/>
            <a:ln>
              <a:solidFill>
                <a:srgbClr val="0092D5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685709" fontAlgn="base">
                <a:spcBef>
                  <a:spcPts val="450"/>
                </a:spcBef>
                <a:spcAft>
                  <a:spcPct val="0"/>
                </a:spcAft>
              </a:pPr>
              <a:endParaRPr lang="en" sz="900" b="1" dirty="0">
                <a:solidFill>
                  <a:prstClr val="black"/>
                </a:solidFill>
                <a:latin typeface="Arial"/>
              </a:endParaRPr>
            </a:p>
            <a:p>
              <a:pPr algn="ctr" defTabSz="685709" fontAlgn="base">
                <a:spcBef>
                  <a:spcPts val="450"/>
                </a:spcBef>
                <a:spcAft>
                  <a:spcPct val="0"/>
                </a:spcAft>
              </a:pPr>
              <a:r>
                <a:rPr lang="en" sz="900" b="1" dirty="0">
                  <a:solidFill>
                    <a:prstClr val="black"/>
                  </a:solidFill>
                  <a:latin typeface="Arial"/>
                </a:rPr>
                <a:t>THE PROJECT DEVELOPER</a:t>
              </a:r>
            </a:p>
            <a:p>
              <a:pPr algn="ctr" defTabSz="685709" fontAlgn="base">
                <a:spcBef>
                  <a:spcPts val="450"/>
                </a:spcBef>
                <a:spcAft>
                  <a:spcPct val="0"/>
                </a:spcAft>
              </a:pPr>
              <a:r>
                <a:rPr lang="nb-NO" sz="900" b="1" dirty="0">
                  <a:solidFill>
                    <a:prstClr val="black"/>
                  </a:solidFill>
                  <a:latin typeface="Arial"/>
                </a:rPr>
                <a:t>Active </a:t>
              </a:r>
              <a:r>
                <a:rPr lang="nb-NO" sz="900" b="1" dirty="0" err="1">
                  <a:solidFill>
                    <a:prstClr val="black"/>
                  </a:solidFill>
                  <a:latin typeface="Arial"/>
                </a:rPr>
                <a:t>Citizenship</a:t>
              </a:r>
              <a:r>
                <a:rPr lang="nb-NO" sz="900" b="1" dirty="0">
                  <a:solidFill>
                    <a:prstClr val="black"/>
                  </a:solidFill>
                  <a:latin typeface="Arial"/>
                </a:rPr>
                <a:t> and Knowhow</a:t>
              </a:r>
              <a:r>
                <a:rPr lang="en" sz="900" dirty="0">
                  <a:solidFill>
                    <a:prstClr val="black"/>
                  </a:solidFill>
                  <a:latin typeface="Arial"/>
                </a:rPr>
                <a:t> - Diverse and inclusive learning communities</a:t>
              </a:r>
            </a:p>
            <a:p>
              <a:pPr algn="ctr" defTabSz="685709" fontAlgn="base">
                <a:spcBef>
                  <a:spcPts val="450"/>
                </a:spcBef>
                <a:spcAft>
                  <a:spcPct val="0"/>
                </a:spcAft>
              </a:pPr>
              <a:r>
                <a:rPr lang="en" sz="900" b="1" dirty="0">
                  <a:solidFill>
                    <a:prstClr val="black"/>
                  </a:solidFill>
                  <a:latin typeface="Arial"/>
                </a:rPr>
                <a:t>On The Move </a:t>
              </a:r>
              <a:r>
                <a:rPr lang="en" sz="900" dirty="0">
                  <a:solidFill>
                    <a:prstClr val="black"/>
                  </a:solidFill>
                  <a:latin typeface="Arial"/>
                </a:rPr>
                <a:t>- Blue and green mobility and transport solutions</a:t>
              </a:r>
            </a:p>
            <a:p>
              <a:pPr algn="ctr" defTabSz="685709" fontAlgn="base">
                <a:spcBef>
                  <a:spcPts val="450"/>
                </a:spcBef>
                <a:spcAft>
                  <a:spcPct val="0"/>
                </a:spcAft>
              </a:pPr>
              <a:r>
                <a:rPr lang="en" sz="900" b="1" dirty="0">
                  <a:solidFill>
                    <a:prstClr val="black"/>
                  </a:solidFill>
                  <a:latin typeface="Arial"/>
                </a:rPr>
                <a:t>Urban Energy </a:t>
              </a:r>
              <a:r>
                <a:rPr lang="en" sz="900" dirty="0">
                  <a:solidFill>
                    <a:prstClr val="black"/>
                  </a:solidFill>
                  <a:latin typeface="Arial"/>
                </a:rPr>
                <a:t>- The renewable transformation challenge</a:t>
              </a:r>
            </a:p>
            <a:p>
              <a:pPr algn="ctr" defTabSz="685709" fontAlgn="base">
                <a:spcBef>
                  <a:spcPts val="450"/>
                </a:spcBef>
                <a:spcAft>
                  <a:spcPct val="0"/>
                </a:spcAft>
              </a:pPr>
              <a:r>
                <a:rPr lang="en" sz="900" b="1" dirty="0">
                  <a:solidFill>
                    <a:prstClr val="black"/>
                  </a:solidFill>
                  <a:latin typeface="Arial"/>
                </a:rPr>
                <a:t>Spaces and Places </a:t>
              </a:r>
              <a:r>
                <a:rPr lang="en" sz="900" dirty="0">
                  <a:solidFill>
                    <a:prstClr val="black"/>
                  </a:solidFill>
                  <a:latin typeface="Arial"/>
                </a:rPr>
                <a:t>- Reinventing our human-made surroundings</a:t>
              </a:r>
            </a:p>
          </p:txBody>
        </p:sp>
        <p:sp>
          <p:nvSpPr>
            <p:cNvPr id="8" name="Ellipse 7">
              <a:extLst>
                <a:ext uri="{FF2B5EF4-FFF2-40B4-BE49-F238E27FC236}">
                  <a16:creationId xmlns:a16="http://schemas.microsoft.com/office/drawing/2014/main" id="{4B5EE806-E7EC-B044-9150-EC81921A1995}"/>
                </a:ext>
              </a:extLst>
            </p:cNvPr>
            <p:cNvSpPr/>
            <p:nvPr/>
          </p:nvSpPr>
          <p:spPr>
            <a:xfrm>
              <a:off x="3520282" y="2179661"/>
              <a:ext cx="3068905" cy="3112419"/>
            </a:xfrm>
            <a:prstGeom prst="ellipse">
              <a:avLst/>
            </a:prstGeom>
            <a:noFill/>
            <a:ln>
              <a:solidFill>
                <a:srgbClr val="0092D5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685709" fontAlgn="base">
                <a:spcBef>
                  <a:spcPts val="450"/>
                </a:spcBef>
                <a:spcAft>
                  <a:spcPct val="0"/>
                </a:spcAft>
              </a:pPr>
              <a:r>
                <a:rPr lang="en" sz="975" b="1" dirty="0">
                  <a:solidFill>
                    <a:prstClr val="black"/>
                  </a:solidFill>
                  <a:latin typeface="Arial"/>
                </a:rPr>
                <a:t>THE STARTUP AND SCALEUP ACCELERATOR</a:t>
              </a:r>
            </a:p>
            <a:p>
              <a:pPr algn="ctr" defTabSz="685709" fontAlgn="base">
                <a:spcBef>
                  <a:spcPts val="450"/>
                </a:spcBef>
                <a:spcAft>
                  <a:spcPct val="0"/>
                </a:spcAft>
              </a:pPr>
              <a:r>
                <a:rPr lang="en" sz="975" dirty="0">
                  <a:solidFill>
                    <a:prstClr val="black"/>
                  </a:solidFill>
                  <a:latin typeface="Arial"/>
                </a:rPr>
                <a:t>Empowering Smart City startups and scaleups through funding, incubation, network and coaching</a:t>
              </a:r>
            </a:p>
          </p:txBody>
        </p:sp>
        <p:sp>
          <p:nvSpPr>
            <p:cNvPr id="9" name="Ellipse 8">
              <a:extLst>
                <a:ext uri="{FF2B5EF4-FFF2-40B4-BE49-F238E27FC236}">
                  <a16:creationId xmlns:a16="http://schemas.microsoft.com/office/drawing/2014/main" id="{1DACA8BC-EF2A-A549-AA25-F0205073AB38}"/>
                </a:ext>
              </a:extLst>
            </p:cNvPr>
            <p:cNvSpPr/>
            <p:nvPr/>
          </p:nvSpPr>
          <p:spPr>
            <a:xfrm>
              <a:off x="4456386" y="5852069"/>
              <a:ext cx="3068905" cy="3112419"/>
            </a:xfrm>
            <a:prstGeom prst="ellipse">
              <a:avLst/>
            </a:prstGeom>
            <a:noFill/>
            <a:ln>
              <a:solidFill>
                <a:srgbClr val="0092D5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685709" fontAlgn="base">
                <a:spcBef>
                  <a:spcPts val="450"/>
                </a:spcBef>
                <a:spcAft>
                  <a:spcPct val="0"/>
                </a:spcAft>
              </a:pPr>
              <a:r>
                <a:rPr lang="en" sz="975" b="1" dirty="0">
                  <a:solidFill>
                    <a:prstClr val="black"/>
                  </a:solidFill>
                  <a:latin typeface="Arial"/>
                </a:rPr>
                <a:t>THE SMART CITY INSTITUTE</a:t>
              </a:r>
            </a:p>
            <a:p>
              <a:pPr algn="ctr" defTabSz="685709" fontAlgn="base">
                <a:spcBef>
                  <a:spcPts val="450"/>
                </a:spcBef>
                <a:spcAft>
                  <a:spcPct val="0"/>
                </a:spcAft>
              </a:pPr>
              <a:r>
                <a:rPr lang="en" sz="975" dirty="0">
                  <a:solidFill>
                    <a:prstClr val="black"/>
                  </a:solidFill>
                  <a:latin typeface="Arial"/>
                </a:rPr>
                <a:t>Stimulating research, teaching, innovation and entrepreneurship in the field of the smart city</a:t>
              </a:r>
            </a:p>
          </p:txBody>
        </p:sp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033D7CBF-CA64-7949-B39B-56392FDBF4A1}"/>
                </a:ext>
              </a:extLst>
            </p:cNvPr>
            <p:cNvSpPr/>
            <p:nvPr/>
          </p:nvSpPr>
          <p:spPr>
            <a:xfrm>
              <a:off x="8660288" y="5852069"/>
              <a:ext cx="3068906" cy="3112419"/>
            </a:xfrm>
            <a:prstGeom prst="ellipse">
              <a:avLst/>
            </a:prstGeom>
            <a:noFill/>
            <a:ln>
              <a:solidFill>
                <a:srgbClr val="0092D5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685709" fontAlgn="base">
                <a:spcBef>
                  <a:spcPts val="450"/>
                </a:spcBef>
                <a:spcAft>
                  <a:spcPct val="0"/>
                </a:spcAft>
              </a:pPr>
              <a:r>
                <a:rPr lang="en" sz="975" b="1" dirty="0">
                  <a:solidFill>
                    <a:prstClr val="black"/>
                  </a:solidFill>
                  <a:latin typeface="Arial"/>
                </a:rPr>
                <a:t>THE LIVING LAB</a:t>
              </a:r>
            </a:p>
            <a:p>
              <a:pPr algn="ctr" defTabSz="685709" fontAlgn="base">
                <a:spcBef>
                  <a:spcPts val="450"/>
                </a:spcBef>
                <a:spcAft>
                  <a:spcPct val="0"/>
                </a:spcAft>
              </a:pPr>
              <a:r>
                <a:rPr lang="en" sz="975" dirty="0">
                  <a:solidFill>
                    <a:prstClr val="black"/>
                  </a:solidFill>
                  <a:latin typeface="Arial"/>
                </a:rPr>
                <a:t>The Smart City Innovation Lab</a:t>
              </a:r>
            </a:p>
            <a:p>
              <a:pPr algn="ctr" defTabSz="685709" fontAlgn="base">
                <a:spcBef>
                  <a:spcPts val="450"/>
                </a:spcBef>
                <a:spcAft>
                  <a:spcPct val="0"/>
                </a:spcAft>
              </a:pPr>
              <a:r>
                <a:rPr lang="en" sz="975" dirty="0">
                  <a:solidFill>
                    <a:prstClr val="black"/>
                  </a:solidFill>
                  <a:latin typeface="Arial"/>
                </a:rPr>
                <a:t>The Smart City Showroom</a:t>
              </a:r>
            </a:p>
            <a:p>
              <a:pPr algn="ctr" defTabSz="685709" fontAlgn="base">
                <a:spcBef>
                  <a:spcPts val="450"/>
                </a:spcBef>
                <a:spcAft>
                  <a:spcPct val="0"/>
                </a:spcAft>
              </a:pPr>
              <a:r>
                <a:rPr lang="en" sz="975" dirty="0" err="1">
                  <a:solidFill>
                    <a:prstClr val="black"/>
                  </a:solidFill>
                  <a:latin typeface="Arial"/>
                </a:rPr>
                <a:t>Ullandhaug</a:t>
              </a:r>
              <a:r>
                <a:rPr lang="en" sz="975" dirty="0">
                  <a:solidFill>
                    <a:prstClr val="black"/>
                  </a:solidFill>
                  <a:latin typeface="Arial"/>
                </a:rPr>
                <a:t> Innovation District</a:t>
              </a:r>
            </a:p>
            <a:p>
              <a:pPr algn="ctr" defTabSz="685709" fontAlgn="base">
                <a:spcBef>
                  <a:spcPts val="450"/>
                </a:spcBef>
                <a:spcAft>
                  <a:spcPct val="0"/>
                </a:spcAft>
              </a:pPr>
              <a:r>
                <a:rPr lang="en" sz="975" dirty="0">
                  <a:solidFill>
                    <a:prstClr val="black"/>
                  </a:solidFill>
                  <a:latin typeface="Arial"/>
                </a:rPr>
                <a:t>Stavanger and </a:t>
              </a:r>
              <a:r>
                <a:rPr lang="en" sz="975" dirty="0" err="1">
                  <a:solidFill>
                    <a:prstClr val="black"/>
                  </a:solidFill>
                  <a:latin typeface="Arial"/>
                </a:rPr>
                <a:t>Ålgård</a:t>
              </a:r>
              <a:r>
                <a:rPr lang="en" sz="975" dirty="0">
                  <a:solidFill>
                    <a:prstClr val="black"/>
                  </a:solidFill>
                  <a:latin typeface="Arial"/>
                </a:rPr>
                <a:t> City Centre</a:t>
              </a:r>
            </a:p>
          </p:txBody>
        </p:sp>
        <p:pic>
          <p:nvPicPr>
            <p:cNvPr id="11" name="Bilde 10">
              <a:extLst>
                <a:ext uri="{FF2B5EF4-FFF2-40B4-BE49-F238E27FC236}">
                  <a16:creationId xmlns:a16="http://schemas.microsoft.com/office/drawing/2014/main" id="{2B4BD5A2-170C-DB45-9FEA-CE009FAF038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89957" y="4491130"/>
              <a:ext cx="1291522" cy="80720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631008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 descr="Et bilde som inneholder innendørs, person, foto, mann&#10;&#10;&#10;&#10;Automatisk generert beskrivelse">
            <a:extLst>
              <a:ext uri="{FF2B5EF4-FFF2-40B4-BE49-F238E27FC236}">
                <a16:creationId xmlns:a16="http://schemas.microsoft.com/office/drawing/2014/main" id="{E0AC6C18-2DC0-C149-B6DB-A2DAD409AD2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928" y="10233"/>
            <a:ext cx="12190809" cy="6857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319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Sylinder 4"/>
          <p:cNvSpPr txBox="1"/>
          <p:nvPr/>
        </p:nvSpPr>
        <p:spPr>
          <a:xfrm>
            <a:off x="7403241" y="5016526"/>
            <a:ext cx="101639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709" fontAlgn="base">
              <a:spcBef>
                <a:spcPct val="0"/>
              </a:spcBef>
              <a:spcAft>
                <a:spcPct val="0"/>
              </a:spcAft>
            </a:pPr>
            <a:r>
              <a:rPr lang="nb-NO" sz="1050" dirty="0">
                <a:solidFill>
                  <a:prstClr val="black"/>
                </a:solidFill>
                <a:latin typeface="Arial" charset="0"/>
                <a:ea typeface="MS PGothic" charset="0"/>
              </a:rPr>
              <a:t>ETABLERTE </a:t>
            </a:r>
          </a:p>
          <a:p>
            <a:pPr algn="ctr" defTabSz="685709" fontAlgn="base">
              <a:spcBef>
                <a:spcPct val="0"/>
              </a:spcBef>
              <a:spcAft>
                <a:spcPct val="0"/>
              </a:spcAft>
            </a:pPr>
            <a:r>
              <a:rPr lang="nb-NO" sz="1050" dirty="0">
                <a:solidFill>
                  <a:prstClr val="black"/>
                </a:solidFill>
                <a:latin typeface="Arial" charset="0"/>
                <a:ea typeface="MS PGothic" charset="0"/>
              </a:rPr>
              <a:t>BEDRIFTER</a:t>
            </a:r>
          </a:p>
        </p:txBody>
      </p:sp>
      <p:sp>
        <p:nvSpPr>
          <p:cNvPr id="6" name="TekstSylinder 5"/>
          <p:cNvSpPr txBox="1"/>
          <p:nvPr/>
        </p:nvSpPr>
        <p:spPr>
          <a:xfrm>
            <a:off x="2922972" y="3337704"/>
            <a:ext cx="1196066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709" fontAlgn="base">
              <a:spcBef>
                <a:spcPct val="0"/>
              </a:spcBef>
              <a:spcAft>
                <a:spcPct val="0"/>
              </a:spcAft>
            </a:pPr>
            <a:r>
              <a:rPr lang="nb-NO" sz="1050" dirty="0">
                <a:solidFill>
                  <a:prstClr val="black"/>
                </a:solidFill>
                <a:latin typeface="Arial" charset="0"/>
                <a:ea typeface="MS PGothic" charset="0"/>
              </a:rPr>
              <a:t>FORSKNING OG UTDANNING</a:t>
            </a:r>
          </a:p>
        </p:txBody>
      </p:sp>
      <p:sp>
        <p:nvSpPr>
          <p:cNvPr id="7" name="TekstSylinder 6"/>
          <p:cNvSpPr txBox="1"/>
          <p:nvPr/>
        </p:nvSpPr>
        <p:spPr>
          <a:xfrm>
            <a:off x="3156526" y="5103771"/>
            <a:ext cx="120620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709" fontAlgn="base">
              <a:spcBef>
                <a:spcPct val="0"/>
              </a:spcBef>
              <a:spcAft>
                <a:spcPct val="0"/>
              </a:spcAft>
            </a:pPr>
            <a:r>
              <a:rPr lang="nb-NO" sz="1050" dirty="0">
                <a:solidFill>
                  <a:prstClr val="black"/>
                </a:solidFill>
                <a:latin typeface="Arial" charset="0"/>
                <a:ea typeface="MS PGothic" charset="0"/>
              </a:rPr>
              <a:t>OFFENTLIGE</a:t>
            </a:r>
          </a:p>
          <a:p>
            <a:pPr algn="ctr" defTabSz="685709" fontAlgn="base">
              <a:spcBef>
                <a:spcPct val="0"/>
              </a:spcBef>
              <a:spcAft>
                <a:spcPct val="0"/>
              </a:spcAft>
            </a:pPr>
            <a:r>
              <a:rPr lang="nb-NO" sz="1050" dirty="0">
                <a:solidFill>
                  <a:prstClr val="black"/>
                </a:solidFill>
                <a:latin typeface="Arial" charset="0"/>
                <a:ea typeface="MS PGothic" charset="0"/>
              </a:rPr>
              <a:t>MYNDIGHETER</a:t>
            </a:r>
          </a:p>
        </p:txBody>
      </p:sp>
      <p:sp>
        <p:nvSpPr>
          <p:cNvPr id="8" name="TekstSylinder 7"/>
          <p:cNvSpPr txBox="1"/>
          <p:nvPr/>
        </p:nvSpPr>
        <p:spPr>
          <a:xfrm>
            <a:off x="7911437" y="3245449"/>
            <a:ext cx="724524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09" fontAlgn="base">
              <a:spcBef>
                <a:spcPct val="0"/>
              </a:spcBef>
              <a:spcAft>
                <a:spcPct val="0"/>
              </a:spcAft>
            </a:pPr>
            <a:r>
              <a:rPr lang="nb-NO" sz="1050" dirty="0">
                <a:solidFill>
                  <a:prstClr val="black"/>
                </a:solidFill>
                <a:latin typeface="Arial" charset="0"/>
                <a:ea typeface="MS PGothic" charset="0"/>
              </a:rPr>
              <a:t>RISIKO-</a:t>
            </a:r>
          </a:p>
          <a:p>
            <a:pPr defTabSz="685709" fontAlgn="base">
              <a:spcBef>
                <a:spcPct val="0"/>
              </a:spcBef>
              <a:spcAft>
                <a:spcPct val="0"/>
              </a:spcAft>
            </a:pPr>
            <a:r>
              <a:rPr lang="nb-NO" sz="1050" dirty="0">
                <a:solidFill>
                  <a:prstClr val="black"/>
                </a:solidFill>
                <a:latin typeface="Arial" charset="0"/>
                <a:ea typeface="MS PGothic" charset="0"/>
              </a:rPr>
              <a:t>KAPITAL</a:t>
            </a:r>
          </a:p>
        </p:txBody>
      </p:sp>
      <p:sp>
        <p:nvSpPr>
          <p:cNvPr id="9" name="TekstSylinder 8"/>
          <p:cNvSpPr txBox="1"/>
          <p:nvPr/>
        </p:nvSpPr>
        <p:spPr>
          <a:xfrm>
            <a:off x="5169493" y="1729710"/>
            <a:ext cx="172802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709" fontAlgn="base">
              <a:spcBef>
                <a:spcPct val="0"/>
              </a:spcBef>
              <a:spcAft>
                <a:spcPct val="0"/>
              </a:spcAft>
            </a:pPr>
            <a:r>
              <a:rPr lang="nb-NO" sz="1050" dirty="0">
                <a:solidFill>
                  <a:prstClr val="black"/>
                </a:solidFill>
                <a:latin typeface="Arial" charset="0"/>
                <a:ea typeface="MS PGothic" charset="0"/>
              </a:rPr>
              <a:t>GRÜNDERE</a:t>
            </a:r>
          </a:p>
        </p:txBody>
      </p:sp>
      <p:sp>
        <p:nvSpPr>
          <p:cNvPr id="10" name="Ellipse 9"/>
          <p:cNvSpPr/>
          <p:nvPr/>
        </p:nvSpPr>
        <p:spPr>
          <a:xfrm>
            <a:off x="4360048" y="2430121"/>
            <a:ext cx="3209951" cy="3209951"/>
          </a:xfrm>
          <a:prstGeom prst="ellipse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09" fontAlgn="base">
              <a:spcBef>
                <a:spcPct val="0"/>
              </a:spcBef>
              <a:spcAft>
                <a:spcPct val="0"/>
              </a:spcAft>
            </a:pPr>
            <a:endParaRPr lang="nb-NO" sz="1350">
              <a:solidFill>
                <a:prstClr val="white"/>
              </a:solidFill>
              <a:latin typeface="Arial"/>
            </a:endParaRPr>
          </a:p>
        </p:txBody>
      </p:sp>
      <p:sp>
        <p:nvSpPr>
          <p:cNvPr id="13" name="Ellipse 12"/>
          <p:cNvSpPr/>
          <p:nvPr/>
        </p:nvSpPr>
        <p:spPr>
          <a:xfrm>
            <a:off x="5550738" y="1996038"/>
            <a:ext cx="868166" cy="868166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09" fontAlgn="base">
              <a:spcBef>
                <a:spcPct val="0"/>
              </a:spcBef>
              <a:spcAft>
                <a:spcPct val="0"/>
              </a:spcAft>
            </a:pPr>
            <a:endParaRPr lang="nb-NO" sz="1350">
              <a:solidFill>
                <a:prstClr val="white"/>
              </a:solidFill>
              <a:latin typeface="Arial"/>
            </a:endParaRPr>
          </a:p>
        </p:txBody>
      </p:sp>
      <p:sp>
        <p:nvSpPr>
          <p:cNvPr id="17" name="Ellipse 16"/>
          <p:cNvSpPr/>
          <p:nvPr/>
        </p:nvSpPr>
        <p:spPr>
          <a:xfrm>
            <a:off x="7054146" y="3007555"/>
            <a:ext cx="868166" cy="868166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09" fontAlgn="base">
              <a:spcBef>
                <a:spcPct val="0"/>
              </a:spcBef>
              <a:spcAft>
                <a:spcPct val="0"/>
              </a:spcAft>
            </a:pPr>
            <a:endParaRPr lang="nb-NO" sz="1350">
              <a:solidFill>
                <a:prstClr val="white"/>
              </a:solidFill>
              <a:latin typeface="Arial"/>
            </a:endParaRPr>
          </a:p>
        </p:txBody>
      </p:sp>
      <p:sp>
        <p:nvSpPr>
          <p:cNvPr id="15" name="Ellipse 14"/>
          <p:cNvSpPr/>
          <p:nvPr/>
        </p:nvSpPr>
        <p:spPr>
          <a:xfrm>
            <a:off x="6620062" y="4760740"/>
            <a:ext cx="868166" cy="868166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09" fontAlgn="base">
              <a:spcBef>
                <a:spcPct val="0"/>
              </a:spcBef>
              <a:spcAft>
                <a:spcPct val="0"/>
              </a:spcAft>
            </a:pPr>
            <a:endParaRPr lang="nb-NO" sz="1350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Ellipse 13"/>
          <p:cNvSpPr/>
          <p:nvPr/>
        </p:nvSpPr>
        <p:spPr>
          <a:xfrm>
            <a:off x="4394242" y="4735903"/>
            <a:ext cx="868166" cy="868166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09" fontAlgn="base">
              <a:spcBef>
                <a:spcPct val="0"/>
              </a:spcBef>
              <a:spcAft>
                <a:spcPct val="0"/>
              </a:spcAft>
            </a:pPr>
            <a:endParaRPr lang="nb-NO" sz="1350">
              <a:solidFill>
                <a:prstClr val="white"/>
              </a:solidFill>
              <a:latin typeface="Arial"/>
            </a:endParaRPr>
          </a:p>
        </p:txBody>
      </p:sp>
      <p:sp>
        <p:nvSpPr>
          <p:cNvPr id="16" name="Ellipse 15"/>
          <p:cNvSpPr/>
          <p:nvPr/>
        </p:nvSpPr>
        <p:spPr>
          <a:xfrm>
            <a:off x="4090385" y="3043775"/>
            <a:ext cx="868166" cy="868166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09" fontAlgn="base">
              <a:spcBef>
                <a:spcPct val="0"/>
              </a:spcBef>
              <a:spcAft>
                <a:spcPct val="0"/>
              </a:spcAft>
            </a:pPr>
            <a:endParaRPr lang="nb-NO" sz="135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78" name="Bilde 7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67945" y="3159500"/>
            <a:ext cx="451062" cy="225531"/>
          </a:xfrm>
          <a:prstGeom prst="rect">
            <a:avLst/>
          </a:prstGeom>
        </p:spPr>
      </p:pic>
      <p:pic>
        <p:nvPicPr>
          <p:cNvPr id="79" name="Bilde 7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92519" y="5095697"/>
            <a:ext cx="345125" cy="431407"/>
          </a:xfrm>
          <a:prstGeom prst="rect">
            <a:avLst/>
          </a:prstGeom>
        </p:spPr>
      </p:pic>
      <p:pic>
        <p:nvPicPr>
          <p:cNvPr id="81" name="Bilde 8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18484" y="3424383"/>
            <a:ext cx="380217" cy="380217"/>
          </a:xfrm>
          <a:prstGeom prst="rect">
            <a:avLst/>
          </a:prstGeom>
        </p:spPr>
      </p:pic>
      <p:pic>
        <p:nvPicPr>
          <p:cNvPr id="84" name="Bilde 8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12532" y="3159500"/>
            <a:ext cx="285061" cy="356327"/>
          </a:xfrm>
          <a:prstGeom prst="rect">
            <a:avLst/>
          </a:prstGeom>
        </p:spPr>
      </p:pic>
      <p:pic>
        <p:nvPicPr>
          <p:cNvPr id="85" name="Bilde 8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35844" y="4941021"/>
            <a:ext cx="393750" cy="393750"/>
          </a:xfrm>
          <a:prstGeom prst="rect">
            <a:avLst/>
          </a:prstGeom>
        </p:spPr>
      </p:pic>
      <p:pic>
        <p:nvPicPr>
          <p:cNvPr id="86" name="Bilde 8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63895" y="3470548"/>
            <a:ext cx="457759" cy="343319"/>
          </a:xfrm>
          <a:prstGeom prst="rect">
            <a:avLst/>
          </a:prstGeom>
        </p:spPr>
      </p:pic>
      <p:pic>
        <p:nvPicPr>
          <p:cNvPr id="90" name="Bilde 8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34825" y="4874979"/>
            <a:ext cx="319453" cy="425937"/>
          </a:xfrm>
          <a:prstGeom prst="rect">
            <a:avLst/>
          </a:prstGeom>
        </p:spPr>
      </p:pic>
      <p:pic>
        <p:nvPicPr>
          <p:cNvPr id="94" name="Bilde 93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61563" y="2135012"/>
            <a:ext cx="650816" cy="623023"/>
          </a:xfrm>
          <a:prstGeom prst="rect">
            <a:avLst/>
          </a:prstGeom>
        </p:spPr>
      </p:pic>
      <p:sp>
        <p:nvSpPr>
          <p:cNvPr id="95" name="TekstSylinder 94"/>
          <p:cNvSpPr txBox="1"/>
          <p:nvPr/>
        </p:nvSpPr>
        <p:spPr>
          <a:xfrm>
            <a:off x="4892383" y="5057610"/>
            <a:ext cx="3315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09" fontAlgn="base">
              <a:spcBef>
                <a:spcPct val="0"/>
              </a:spcBef>
              <a:spcAft>
                <a:spcPct val="0"/>
              </a:spcAft>
            </a:pPr>
            <a:r>
              <a:rPr lang="nb-NO" sz="2400" dirty="0">
                <a:solidFill>
                  <a:prstClr val="black"/>
                </a:solidFill>
                <a:latin typeface="Avenir Next Condensed" charset="0"/>
                <a:ea typeface="Avenir Next Condensed" charset="0"/>
                <a:cs typeface="Avenir Next Condensed" charset="0"/>
              </a:rPr>
              <a:t>§</a:t>
            </a:r>
          </a:p>
        </p:txBody>
      </p:sp>
    </p:spTree>
    <p:extLst>
      <p:ext uri="{BB962C8B-B14F-4D97-AF65-F5344CB8AC3E}">
        <p14:creationId xmlns:p14="http://schemas.microsoft.com/office/powerpoint/2010/main" val="35622195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lassholder for bilde 8"/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10" name="Tit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WHY THE NORDICS?</a:t>
            </a:r>
          </a:p>
        </p:txBody>
      </p:sp>
      <p:sp>
        <p:nvSpPr>
          <p:cNvPr id="12" name="Plassholder for innhold 11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nb-NO" sz="1800" dirty="0"/>
              <a:t>A </a:t>
            </a:r>
            <a:r>
              <a:rPr lang="nb-NO" sz="1800" dirty="0" err="1"/>
              <a:t>distinctive</a:t>
            </a:r>
            <a:r>
              <a:rPr lang="nb-NO" sz="1800" dirty="0"/>
              <a:t> </a:t>
            </a:r>
            <a:r>
              <a:rPr lang="nb-NO" sz="1800" dirty="0" err="1"/>
              <a:t>welfare</a:t>
            </a:r>
            <a:r>
              <a:rPr lang="nb-NO" sz="1800" dirty="0"/>
              <a:t> </a:t>
            </a:r>
            <a:r>
              <a:rPr lang="nb-NO" sz="1800" dirty="0" err="1"/>
              <a:t>state</a:t>
            </a:r>
            <a:r>
              <a:rPr lang="nb-NO" sz="1800" dirty="0"/>
              <a:t> </a:t>
            </a:r>
            <a:r>
              <a:rPr lang="nb-NO" sz="1800" dirty="0" err="1"/>
              <a:t>model</a:t>
            </a:r>
            <a:endParaRPr lang="nb-NO" sz="1800" dirty="0"/>
          </a:p>
          <a:p>
            <a:r>
              <a:rPr lang="nb-NO" sz="1800" dirty="0"/>
              <a:t>High </a:t>
            </a:r>
            <a:r>
              <a:rPr lang="nb-NO" sz="1800" dirty="0" err="1"/>
              <a:t>quality</a:t>
            </a:r>
            <a:r>
              <a:rPr lang="nb-NO" sz="1800" dirty="0"/>
              <a:t> urban </a:t>
            </a:r>
            <a:r>
              <a:rPr lang="nb-NO" sz="1800" dirty="0" err="1"/>
              <a:t>solutions</a:t>
            </a:r>
            <a:r>
              <a:rPr lang="nb-NO" sz="1800" dirty="0"/>
              <a:t> </a:t>
            </a:r>
          </a:p>
          <a:p>
            <a:r>
              <a:rPr lang="nb-NO" sz="1800" dirty="0"/>
              <a:t>Smart </a:t>
            </a:r>
            <a:r>
              <a:rPr lang="nb-NO" sz="1800" dirty="0" err="1"/>
              <a:t>governance</a:t>
            </a:r>
            <a:r>
              <a:rPr lang="nb-NO" sz="1800" dirty="0"/>
              <a:t> </a:t>
            </a:r>
          </a:p>
          <a:p>
            <a:r>
              <a:rPr lang="nb-NO" sz="1800" dirty="0"/>
              <a:t>Public-private </a:t>
            </a:r>
            <a:r>
              <a:rPr lang="nb-NO" sz="1800" dirty="0" err="1"/>
              <a:t>partnerships</a:t>
            </a:r>
            <a:endParaRPr lang="nb-NO" sz="1800" dirty="0"/>
          </a:p>
          <a:p>
            <a:r>
              <a:rPr lang="nb-NO" sz="1800" dirty="0" err="1"/>
              <a:t>Environmental</a:t>
            </a:r>
            <a:r>
              <a:rPr lang="nb-NO" sz="1800" dirty="0"/>
              <a:t> and </a:t>
            </a:r>
            <a:r>
              <a:rPr lang="nb-NO" sz="1800" dirty="0" err="1"/>
              <a:t>social</a:t>
            </a:r>
            <a:r>
              <a:rPr lang="nb-NO" sz="1800" dirty="0"/>
              <a:t> </a:t>
            </a:r>
            <a:r>
              <a:rPr lang="nb-NO" sz="1800" dirty="0" err="1"/>
              <a:t>consciousness</a:t>
            </a:r>
            <a:r>
              <a:rPr lang="nb-NO" sz="1800" dirty="0"/>
              <a:t> </a:t>
            </a:r>
          </a:p>
          <a:p>
            <a:r>
              <a:rPr lang="nb-NO" sz="1800" dirty="0" err="1"/>
              <a:t>Early</a:t>
            </a:r>
            <a:r>
              <a:rPr lang="nb-NO" sz="1800" dirty="0"/>
              <a:t> </a:t>
            </a:r>
            <a:r>
              <a:rPr lang="nb-NO" sz="1800" dirty="0" err="1"/>
              <a:t>adopters</a:t>
            </a:r>
            <a:r>
              <a:rPr lang="nb-NO" sz="1800" dirty="0"/>
              <a:t> </a:t>
            </a:r>
            <a:r>
              <a:rPr lang="nb-NO" sz="1800" dirty="0" err="1"/>
              <a:t>of</a:t>
            </a:r>
            <a:r>
              <a:rPr lang="nb-NO" sz="1800" dirty="0"/>
              <a:t> </a:t>
            </a:r>
            <a:r>
              <a:rPr lang="nb-NO" sz="1800" dirty="0" err="1"/>
              <a:t>new</a:t>
            </a:r>
            <a:r>
              <a:rPr lang="nb-NO" sz="1800" dirty="0"/>
              <a:t> </a:t>
            </a:r>
            <a:r>
              <a:rPr lang="nb-NO" sz="1800" dirty="0" err="1"/>
              <a:t>technology</a:t>
            </a:r>
            <a:endParaRPr lang="nb-NO" sz="1800" dirty="0"/>
          </a:p>
          <a:p>
            <a:r>
              <a:rPr lang="nb-NO" sz="1800" dirty="0"/>
              <a:t>Digital </a:t>
            </a:r>
            <a:r>
              <a:rPr lang="nb-NO" sz="1800" dirty="0" err="1"/>
              <a:t>infrastructure</a:t>
            </a:r>
            <a:endParaRPr lang="nb-NO" sz="1800" dirty="0"/>
          </a:p>
          <a:p>
            <a:r>
              <a:rPr lang="nb-NO" sz="1800" dirty="0" err="1"/>
              <a:t>Well-functioning</a:t>
            </a:r>
            <a:r>
              <a:rPr lang="nb-NO" sz="1800" dirty="0"/>
              <a:t> </a:t>
            </a:r>
            <a:r>
              <a:rPr lang="nb-NO" sz="1800" dirty="0" err="1"/>
              <a:t>democracies</a:t>
            </a:r>
            <a:endParaRPr lang="nb-NO" sz="1800" dirty="0"/>
          </a:p>
          <a:p>
            <a:r>
              <a:rPr lang="nb-NO" sz="1800" dirty="0"/>
              <a:t>Ideal test-bed for </a:t>
            </a:r>
            <a:r>
              <a:rPr lang="nb-NO" sz="1800" dirty="0" err="1"/>
              <a:t>new</a:t>
            </a:r>
            <a:r>
              <a:rPr lang="nb-NO" sz="1800" dirty="0"/>
              <a:t> smart city </a:t>
            </a:r>
            <a:r>
              <a:rPr lang="nb-NO" sz="1800" dirty="0" err="1"/>
              <a:t>solutions</a:t>
            </a:r>
            <a:endParaRPr lang="nb-NO" sz="1800" dirty="0"/>
          </a:p>
        </p:txBody>
      </p:sp>
      <p:sp>
        <p:nvSpPr>
          <p:cNvPr id="4" name="Plassholder for innhold 5"/>
          <p:cNvSpPr txBox="1">
            <a:spLocks/>
          </p:cNvSpPr>
          <p:nvPr/>
        </p:nvSpPr>
        <p:spPr bwMode="auto">
          <a:xfrm>
            <a:off x="809921" y="1322972"/>
            <a:ext cx="3793270" cy="42525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5705" tIns="42852" rIns="85705" bIns="42852"/>
          <a:lstStyle>
            <a:lvl1pPr marL="254000" indent="-25400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pPr marL="257141" indent="-257141" defTabSz="685709" fontAlgn="base">
              <a:spcBef>
                <a:spcPts val="450"/>
              </a:spcBef>
              <a:spcAft>
                <a:spcPts val="450"/>
              </a:spcAft>
              <a:buFont typeface="Arial" charset="0"/>
              <a:buChar char="•"/>
            </a:pPr>
            <a:endParaRPr lang="en-GB" sz="18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1516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lassholder for bilde 2"/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35"/>
            <a:ext cx="10393985" cy="6860068"/>
          </a:xfrm>
          <a:noFill/>
        </p:spPr>
      </p:pic>
      <p:pic>
        <p:nvPicPr>
          <p:cNvPr id="4" name="Bilde 3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82060" y="938477"/>
            <a:ext cx="6993783" cy="828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304678"/>
      </p:ext>
    </p:extLst>
  </p:cSld>
  <p:clrMapOvr>
    <a:masterClrMapping/>
  </p:clrMapOvr>
  <p:transition spd="slow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0922" t="5419" r="16325" b="20510"/>
          <a:stretch/>
        </p:blipFill>
        <p:spPr>
          <a:xfrm>
            <a:off x="6096001" y="2733245"/>
            <a:ext cx="6083615" cy="4130675"/>
          </a:xfrm>
          <a:prstGeom prst="rect">
            <a:avLst/>
          </a:prstGeom>
        </p:spPr>
      </p:pic>
      <p:sp>
        <p:nvSpPr>
          <p:cNvPr id="8" name="Plassholder for tekst 7"/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2" name="Tittel 1"/>
          <p:cNvSpPr>
            <a:spLocks noGrp="1"/>
          </p:cNvSpPr>
          <p:nvPr>
            <p:ph type="title" idx="4294967295"/>
          </p:nvPr>
        </p:nvSpPr>
        <p:spPr>
          <a:xfrm>
            <a:off x="719067" y="998968"/>
            <a:ext cx="10753866" cy="901215"/>
          </a:xfrm>
        </p:spPr>
        <p:txBody>
          <a:bodyPr/>
          <a:lstStyle/>
          <a:p>
            <a:pPr algn="ctr"/>
            <a:r>
              <a:rPr lang="en-GB" sz="3600" dirty="0"/>
              <a:t>Nordic Edge – </a:t>
            </a:r>
            <a:br>
              <a:rPr lang="en-GB" sz="3600" dirty="0"/>
            </a:br>
            <a:r>
              <a:rPr lang="en-GB" sz="3600" dirty="0"/>
              <a:t>the Smart City matchmaker and accelerator</a:t>
            </a:r>
            <a:endParaRPr lang="nb-NO" sz="3600" dirty="0"/>
          </a:p>
        </p:txBody>
      </p:sp>
      <p:pic>
        <p:nvPicPr>
          <p:cNvPr id="5" name="Bilde 4"/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9106" t="14389" r="12500" b="5930"/>
          <a:stretch/>
        </p:blipFill>
        <p:spPr>
          <a:xfrm>
            <a:off x="1" y="2726990"/>
            <a:ext cx="6096000" cy="4130675"/>
          </a:xfrm>
          <a:prstGeom prst="rect">
            <a:avLst/>
          </a:prstGeom>
        </p:spPr>
      </p:pic>
      <p:sp>
        <p:nvSpPr>
          <p:cNvPr id="10" name="TekstSylinder 9"/>
          <p:cNvSpPr txBox="1"/>
          <p:nvPr/>
        </p:nvSpPr>
        <p:spPr>
          <a:xfrm>
            <a:off x="888537" y="4554856"/>
            <a:ext cx="4320058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709" fontAlgn="base">
              <a:spcBef>
                <a:spcPct val="0"/>
              </a:spcBef>
              <a:spcAft>
                <a:spcPct val="0"/>
              </a:spcAft>
            </a:pPr>
            <a:r>
              <a:rPr lang="en-GB" sz="2700" dirty="0">
                <a:solidFill>
                  <a:prstClr val="white"/>
                </a:solidFill>
                <a:latin typeface="Arial" charset="0"/>
                <a:ea typeface="MS PGothic" charset="0"/>
              </a:rPr>
              <a:t>The Event Organizer</a:t>
            </a:r>
            <a:endParaRPr lang="nb-NO" sz="2700" dirty="0">
              <a:solidFill>
                <a:prstClr val="white"/>
              </a:solidFill>
              <a:latin typeface="Arial" charset="0"/>
              <a:ea typeface="MS PGothic" charset="0"/>
            </a:endParaRPr>
          </a:p>
        </p:txBody>
      </p:sp>
      <p:sp>
        <p:nvSpPr>
          <p:cNvPr id="11" name="TekstSylinder 10"/>
          <p:cNvSpPr txBox="1"/>
          <p:nvPr/>
        </p:nvSpPr>
        <p:spPr>
          <a:xfrm>
            <a:off x="6977779" y="4541697"/>
            <a:ext cx="4320058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709" fontAlgn="base">
              <a:spcBef>
                <a:spcPct val="0"/>
              </a:spcBef>
              <a:spcAft>
                <a:spcPct val="0"/>
              </a:spcAft>
            </a:pPr>
            <a:r>
              <a:rPr lang="en-GB" sz="2700" dirty="0">
                <a:solidFill>
                  <a:prstClr val="white"/>
                </a:solidFill>
                <a:latin typeface="Arial" charset="0"/>
                <a:ea typeface="MS PGothic" charset="0"/>
              </a:rPr>
              <a:t>The Innovation Cluster	</a:t>
            </a:r>
            <a:endParaRPr lang="nb-NO" sz="2700" dirty="0">
              <a:solidFill>
                <a:prstClr val="white"/>
              </a:solidFill>
              <a:latin typeface="Arial" charset="0"/>
              <a:ea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2395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5967" y="1919387"/>
            <a:ext cx="4778731" cy="30192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860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lassholder for bilde 13"/>
          <p:cNvPicPr>
            <a:picLocks noGrp="1" noChangeAspect="1"/>
          </p:cNvPicPr>
          <p:nvPr>
            <p:ph type="pic" sz="quarter" idx="21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3" name="Tittel 2"/>
          <p:cNvSpPr>
            <a:spLocks noGrp="1"/>
          </p:cNvSpPr>
          <p:nvPr>
            <p:ph type="title"/>
          </p:nvPr>
        </p:nvSpPr>
        <p:spPr>
          <a:xfrm>
            <a:off x="7208427" y="366634"/>
            <a:ext cx="4579238" cy="648009"/>
          </a:xfrm>
        </p:spPr>
        <p:txBody>
          <a:bodyPr/>
          <a:lstStyle/>
          <a:p>
            <a:pPr algn="ctr">
              <a:lnSpc>
                <a:spcPts val="3300"/>
              </a:lnSpc>
            </a:pPr>
            <a:r>
              <a:rPr lang="en-GB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ome highlights from 2018</a:t>
            </a:r>
          </a:p>
        </p:txBody>
      </p:sp>
      <p:pic>
        <p:nvPicPr>
          <p:cNvPr id="19" name="Plassholder for bilde 18"/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2" name="Plassholder for innhold 1"/>
          <p:cNvSpPr>
            <a:spLocks noGrp="1"/>
          </p:cNvSpPr>
          <p:nvPr>
            <p:ph idx="13"/>
          </p:nvPr>
        </p:nvSpPr>
        <p:spPr>
          <a:xfrm>
            <a:off x="7122013" y="1224276"/>
            <a:ext cx="4752064" cy="1134015"/>
          </a:xfrm>
        </p:spPr>
        <p:txBody>
          <a:bodyPr/>
          <a:lstStyle/>
          <a:p>
            <a:pPr marL="0" indent="0" algn="ctr">
              <a:buNone/>
            </a:pPr>
            <a:r>
              <a:rPr lang="en-GB" sz="165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NORDIC EDGE EXPO</a:t>
            </a:r>
            <a:endParaRPr lang="en-GB" b="1" i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0" indent="0">
              <a:buNone/>
            </a:pPr>
            <a:endParaRPr lang="en-GB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en-GB" dirty="0"/>
          </a:p>
        </p:txBody>
      </p:sp>
      <p:sp>
        <p:nvSpPr>
          <p:cNvPr id="23" name="Rektangel 22"/>
          <p:cNvSpPr/>
          <p:nvPr/>
        </p:nvSpPr>
        <p:spPr>
          <a:xfrm>
            <a:off x="7770287" y="2045570"/>
            <a:ext cx="1889761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709" fontAlgn="base">
              <a:spcBef>
                <a:spcPct val="0"/>
              </a:spcBef>
              <a:spcAft>
                <a:spcPct val="0"/>
              </a:spcAft>
            </a:pPr>
            <a:r>
              <a:rPr lang="en-GB" sz="1050" b="1" dirty="0">
                <a:solidFill>
                  <a:srgbClr val="0093D6"/>
                </a:solidFill>
                <a:latin typeface="Arial" charset="0"/>
                <a:ea typeface="MS PGothic" charset="0"/>
              </a:rPr>
              <a:t>4500+</a:t>
            </a:r>
          </a:p>
          <a:p>
            <a:pPr algn="ctr" defTabSz="685709" fontAlgn="base">
              <a:spcBef>
                <a:spcPct val="0"/>
              </a:spcBef>
              <a:spcAft>
                <a:spcPct val="0"/>
              </a:spcAft>
            </a:pPr>
            <a:r>
              <a:rPr lang="en-GB" sz="1050" dirty="0">
                <a:solidFill>
                  <a:srgbClr val="0093D6"/>
                </a:solidFill>
                <a:latin typeface="Arial" charset="0"/>
                <a:ea typeface="MS PGothic" charset="0"/>
              </a:rPr>
              <a:t>VISITORS</a:t>
            </a:r>
          </a:p>
        </p:txBody>
      </p:sp>
      <p:pic>
        <p:nvPicPr>
          <p:cNvPr id="24" name="Bilde 2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61757" y="1957950"/>
            <a:ext cx="539744" cy="539744"/>
          </a:xfrm>
          <a:prstGeom prst="rect">
            <a:avLst/>
          </a:prstGeom>
        </p:spPr>
      </p:pic>
      <p:pic>
        <p:nvPicPr>
          <p:cNvPr id="25" name="Bilde 24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5600" y="2614207"/>
            <a:ext cx="540005" cy="540005"/>
          </a:xfrm>
          <a:prstGeom prst="rect">
            <a:avLst/>
          </a:prstGeom>
        </p:spPr>
      </p:pic>
      <p:sp>
        <p:nvSpPr>
          <p:cNvPr id="5" name="Rektangel 4"/>
          <p:cNvSpPr/>
          <p:nvPr/>
        </p:nvSpPr>
        <p:spPr>
          <a:xfrm>
            <a:off x="3047702" y="3036623"/>
            <a:ext cx="6095405" cy="80791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defTabSz="685709" fontAlgn="base">
              <a:spcBef>
                <a:spcPct val="0"/>
              </a:spcBef>
              <a:spcAft>
                <a:spcPct val="0"/>
              </a:spcAft>
            </a:pPr>
            <a:r>
              <a:rPr lang="en-GB" sz="3300" b="1">
                <a:solidFill>
                  <a:prstClr val="black"/>
                </a:solidFill>
                <a:latin typeface="Arial" charset="0"/>
                <a:ea typeface="MS PGothic" charset="0"/>
              </a:rPr>
              <a:t>200+</a:t>
            </a:r>
          </a:p>
          <a:p>
            <a:pPr algn="ctr" defTabSz="685709" fontAlgn="base">
              <a:spcBef>
                <a:spcPct val="0"/>
              </a:spcBef>
              <a:spcAft>
                <a:spcPct val="0"/>
              </a:spcAft>
            </a:pPr>
            <a:r>
              <a:rPr lang="en-GB" sz="1350">
                <a:solidFill>
                  <a:prstClr val="black"/>
                </a:solidFill>
                <a:latin typeface="Arial" charset="0"/>
                <a:ea typeface="MS PGothic" charset="0"/>
              </a:rPr>
              <a:t>EXHIBITORS</a:t>
            </a:r>
          </a:p>
        </p:txBody>
      </p:sp>
      <p:sp>
        <p:nvSpPr>
          <p:cNvPr id="26" name="Rektangel 25"/>
          <p:cNvSpPr/>
          <p:nvPr/>
        </p:nvSpPr>
        <p:spPr>
          <a:xfrm>
            <a:off x="7770023" y="2673954"/>
            <a:ext cx="1889761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709" fontAlgn="base">
              <a:spcBef>
                <a:spcPct val="0"/>
              </a:spcBef>
              <a:spcAft>
                <a:spcPct val="0"/>
              </a:spcAft>
            </a:pPr>
            <a:r>
              <a:rPr lang="en-GB" sz="1050" b="1" dirty="0">
                <a:solidFill>
                  <a:prstClr val="black"/>
                </a:solidFill>
                <a:latin typeface="Arial" charset="0"/>
                <a:ea typeface="MS PGothic" charset="0"/>
              </a:rPr>
              <a:t>200</a:t>
            </a:r>
          </a:p>
          <a:p>
            <a:pPr algn="ctr" defTabSz="685709" fontAlgn="base">
              <a:spcBef>
                <a:spcPct val="0"/>
              </a:spcBef>
              <a:spcAft>
                <a:spcPct val="0"/>
              </a:spcAft>
            </a:pPr>
            <a:r>
              <a:rPr lang="en-GB" sz="1050" dirty="0">
                <a:solidFill>
                  <a:prstClr val="black"/>
                </a:solidFill>
                <a:latin typeface="Arial" charset="0"/>
                <a:ea typeface="MS PGothic" charset="0"/>
              </a:rPr>
              <a:t>EXHIBITORS</a:t>
            </a:r>
          </a:p>
        </p:txBody>
      </p:sp>
      <p:pic>
        <p:nvPicPr>
          <p:cNvPr id="27" name="Bilde 26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72209" y="1984057"/>
            <a:ext cx="540798" cy="540798"/>
          </a:xfrm>
          <a:prstGeom prst="rect">
            <a:avLst/>
          </a:prstGeom>
        </p:spPr>
      </p:pic>
      <p:sp>
        <p:nvSpPr>
          <p:cNvPr id="28" name="Rektangel 27"/>
          <p:cNvSpPr/>
          <p:nvPr/>
        </p:nvSpPr>
        <p:spPr>
          <a:xfrm>
            <a:off x="9922577" y="2045570"/>
            <a:ext cx="1889761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709" fontAlgn="base">
              <a:spcBef>
                <a:spcPct val="0"/>
              </a:spcBef>
              <a:spcAft>
                <a:spcPct val="0"/>
              </a:spcAft>
            </a:pPr>
            <a:r>
              <a:rPr lang="en-GB" sz="1050" b="1" dirty="0">
                <a:solidFill>
                  <a:srgbClr val="DC0C29"/>
                </a:solidFill>
                <a:latin typeface="Arial" charset="0"/>
                <a:ea typeface="MS PGothic" charset="0"/>
              </a:rPr>
              <a:t>150</a:t>
            </a:r>
          </a:p>
          <a:p>
            <a:pPr algn="ctr" defTabSz="685709" fontAlgn="base">
              <a:spcBef>
                <a:spcPct val="0"/>
              </a:spcBef>
              <a:spcAft>
                <a:spcPct val="0"/>
              </a:spcAft>
            </a:pPr>
            <a:r>
              <a:rPr lang="en-GB" sz="1050" dirty="0">
                <a:solidFill>
                  <a:srgbClr val="DC0C29"/>
                </a:solidFill>
                <a:latin typeface="Arial" charset="0"/>
                <a:ea typeface="MS PGothic" charset="0"/>
              </a:rPr>
              <a:t>SPEAKERS</a:t>
            </a:r>
          </a:p>
        </p:txBody>
      </p:sp>
      <p:pic>
        <p:nvPicPr>
          <p:cNvPr id="29" name="Bilde 28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72209" y="2613808"/>
            <a:ext cx="540801" cy="540801"/>
          </a:xfrm>
          <a:prstGeom prst="rect">
            <a:avLst/>
          </a:prstGeom>
        </p:spPr>
      </p:pic>
      <p:sp>
        <p:nvSpPr>
          <p:cNvPr id="30" name="Rektangel 29"/>
          <p:cNvSpPr/>
          <p:nvPr/>
        </p:nvSpPr>
        <p:spPr>
          <a:xfrm>
            <a:off x="9984317" y="2679208"/>
            <a:ext cx="1889761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709" fontAlgn="base">
              <a:spcBef>
                <a:spcPct val="0"/>
              </a:spcBef>
              <a:spcAft>
                <a:spcPct val="0"/>
              </a:spcAft>
            </a:pPr>
            <a:r>
              <a:rPr lang="en-GB" sz="1050" b="1" dirty="0">
                <a:solidFill>
                  <a:srgbClr val="17428B"/>
                </a:solidFill>
                <a:latin typeface="Arial" charset="0"/>
                <a:ea typeface="MS PGothic" charset="0"/>
              </a:rPr>
              <a:t>47</a:t>
            </a:r>
          </a:p>
          <a:p>
            <a:pPr algn="ctr" defTabSz="685709" fontAlgn="base">
              <a:spcBef>
                <a:spcPct val="0"/>
              </a:spcBef>
              <a:spcAft>
                <a:spcPct val="0"/>
              </a:spcAft>
            </a:pPr>
            <a:r>
              <a:rPr lang="en-GB" sz="1050" dirty="0">
                <a:solidFill>
                  <a:srgbClr val="17428B"/>
                </a:solidFill>
                <a:latin typeface="Arial" charset="0"/>
                <a:ea typeface="MS PGothic" charset="0"/>
              </a:rPr>
              <a:t>COUNTRIES</a:t>
            </a:r>
          </a:p>
        </p:txBody>
      </p:sp>
      <p:pic>
        <p:nvPicPr>
          <p:cNvPr id="31" name="Plassholder for bilde 10"/>
          <p:cNvPicPr>
            <a:picLocks noGrp="1" noChangeAspect="1"/>
          </p:cNvPicPr>
          <p:nvPr>
            <p:ph type="pic" sz="quarter" idx="22"/>
          </p:nvPr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39" name="Plassholder for bilde 6"/>
          <p:cNvPicPr>
            <a:picLocks noGrp="1" noChangeAspect="1"/>
          </p:cNvPicPr>
          <p:nvPr>
            <p:ph type="pic" sz="quarter" idx="20"/>
          </p:nvPr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4" name="TekstSylinder 3"/>
          <p:cNvSpPr txBox="1"/>
          <p:nvPr/>
        </p:nvSpPr>
        <p:spPr>
          <a:xfrm>
            <a:off x="7655600" y="3500854"/>
            <a:ext cx="3718967" cy="22736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14284" indent="-214284" defTabSz="685709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/>
              <a:buChar char="•"/>
            </a:pPr>
            <a:r>
              <a:rPr lang="en-GB" sz="1350" dirty="0">
                <a:solidFill>
                  <a:prstClr val="black">
                    <a:lumMod val="65000"/>
                    <a:lumOff val="35000"/>
                  </a:prstClr>
                </a:solidFill>
                <a:latin typeface="Arial" charset="0"/>
                <a:ea typeface="MS PGothic" charset="0"/>
              </a:rPr>
              <a:t>Delegates: 50/50% public vs. private sector</a:t>
            </a:r>
          </a:p>
          <a:p>
            <a:pPr marL="214284" indent="-214284" defTabSz="685709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/>
              <a:buChar char="•"/>
            </a:pPr>
            <a:r>
              <a:rPr lang="en-GB" sz="1350" dirty="0">
                <a:solidFill>
                  <a:prstClr val="black">
                    <a:lumMod val="65000"/>
                    <a:lumOff val="35000"/>
                  </a:prstClr>
                </a:solidFill>
                <a:latin typeface="Arial" charset="0"/>
                <a:ea typeface="MS PGothic" charset="0"/>
              </a:rPr>
              <a:t>58 municipalities</a:t>
            </a:r>
          </a:p>
          <a:p>
            <a:pPr marL="214284" indent="-214284" defTabSz="685709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/>
              <a:buChar char="•"/>
            </a:pPr>
            <a:r>
              <a:rPr lang="en-GB" sz="1350" dirty="0">
                <a:solidFill>
                  <a:prstClr val="black">
                    <a:lumMod val="65000"/>
                    <a:lumOff val="35000"/>
                  </a:prstClr>
                </a:solidFill>
                <a:latin typeface="Arial" charset="0"/>
                <a:ea typeface="MS PGothic" charset="0"/>
              </a:rPr>
              <a:t>120 cities</a:t>
            </a:r>
          </a:p>
          <a:p>
            <a:pPr marL="214284" indent="-214284" defTabSz="685709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/>
              <a:buChar char="•"/>
            </a:pPr>
            <a:r>
              <a:rPr lang="en-GB" sz="1350" dirty="0">
                <a:solidFill>
                  <a:prstClr val="black">
                    <a:lumMod val="65000"/>
                    <a:lumOff val="35000"/>
                  </a:prstClr>
                </a:solidFill>
                <a:latin typeface="Arial" charset="0"/>
                <a:ea typeface="MS PGothic" charset="0"/>
              </a:rPr>
              <a:t>&gt; 25 Nordic and international co-organizers</a:t>
            </a:r>
          </a:p>
          <a:p>
            <a:pPr marL="214284" indent="-214284" defTabSz="685709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/>
              <a:buChar char="•"/>
            </a:pPr>
            <a:r>
              <a:rPr lang="en-GB" sz="1350" dirty="0">
                <a:solidFill>
                  <a:prstClr val="black">
                    <a:lumMod val="65000"/>
                    <a:lumOff val="35000"/>
                  </a:prstClr>
                </a:solidFill>
                <a:latin typeface="Arial" charset="0"/>
                <a:ea typeface="MS PGothic" charset="0"/>
              </a:rPr>
              <a:t>Smart City China (Beijing)</a:t>
            </a:r>
          </a:p>
          <a:p>
            <a:pPr marL="214284" indent="-214284" defTabSz="685709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/>
              <a:buChar char="•"/>
            </a:pPr>
            <a:r>
              <a:rPr lang="en-GB" sz="1350" dirty="0">
                <a:solidFill>
                  <a:prstClr val="black">
                    <a:lumMod val="65000"/>
                    <a:lumOff val="35000"/>
                  </a:prstClr>
                </a:solidFill>
                <a:latin typeface="Arial" charset="0"/>
                <a:ea typeface="MS PGothic" charset="0"/>
              </a:rPr>
              <a:t>Smart City USA (Washington)</a:t>
            </a:r>
          </a:p>
          <a:p>
            <a:pPr marL="214284" indent="-214284" defTabSz="685709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/>
              <a:buChar char="•"/>
            </a:pPr>
            <a:endParaRPr lang="en-GB" sz="1350" dirty="0">
              <a:solidFill>
                <a:prstClr val="black">
                  <a:lumMod val="65000"/>
                  <a:lumOff val="35000"/>
                </a:prstClr>
              </a:solidFill>
              <a:latin typeface="Arial" charset="0"/>
              <a:ea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7666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Bilde 21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6044" y="4077009"/>
            <a:ext cx="3368514" cy="2780656"/>
          </a:xfrm>
          <a:prstGeom prst="rect">
            <a:avLst/>
          </a:prstGeom>
        </p:spPr>
      </p:pic>
      <p:pic>
        <p:nvPicPr>
          <p:cNvPr id="12" name="Bilde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7793" y="2484705"/>
            <a:ext cx="5339430" cy="1334858"/>
          </a:xfrm>
          <a:prstGeom prst="rect">
            <a:avLst/>
          </a:prstGeom>
        </p:spPr>
      </p:pic>
      <p:pic>
        <p:nvPicPr>
          <p:cNvPr id="8" name="Bilde 7">
            <a:extLst>
              <a:ext uri="{FF2B5EF4-FFF2-40B4-BE49-F238E27FC236}">
                <a16:creationId xmlns:a16="http://schemas.microsoft.com/office/drawing/2014/main" id="{A52400AC-5D9E-3043-9574-EDD07D89617D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1471" y="2271230"/>
            <a:ext cx="2315541" cy="2315541"/>
          </a:xfrm>
          <a:prstGeom prst="rect">
            <a:avLst/>
          </a:prstGeom>
        </p:spPr>
      </p:pic>
      <p:sp>
        <p:nvSpPr>
          <p:cNvPr id="3" name="Tittel 2"/>
          <p:cNvSpPr>
            <a:spLocks noGrp="1"/>
          </p:cNvSpPr>
          <p:nvPr>
            <p:ph type="title"/>
          </p:nvPr>
        </p:nvSpPr>
        <p:spPr>
          <a:xfrm>
            <a:off x="719454" y="402421"/>
            <a:ext cx="10753094" cy="900234"/>
          </a:xfrm>
        </p:spPr>
        <p:txBody>
          <a:bodyPr>
            <a:normAutofit/>
          </a:bodyPr>
          <a:lstStyle/>
          <a:p>
            <a:pPr algn="ctr"/>
            <a:r>
              <a:rPr lang="nb-NO" sz="3000" b="0" dirty="0">
                <a:solidFill>
                  <a:srgbClr val="0092D5"/>
                </a:solidFill>
              </a:rPr>
              <a:t>Nordic Edge </a:t>
            </a:r>
            <a:r>
              <a:rPr lang="nb-NO" sz="3000" b="0" dirty="0" err="1">
                <a:solidFill>
                  <a:srgbClr val="0092D5"/>
                </a:solidFill>
              </a:rPr>
              <a:t>Expos</a:t>
            </a:r>
            <a:r>
              <a:rPr lang="nb-NO" sz="3000" b="0" dirty="0">
                <a:solidFill>
                  <a:srgbClr val="0092D5"/>
                </a:solidFill>
              </a:rPr>
              <a:t> medarrangører 2018</a:t>
            </a:r>
          </a:p>
        </p:txBody>
      </p:sp>
      <p:pic>
        <p:nvPicPr>
          <p:cNvPr id="20" name="Bilde 19" descr="Eurocities1.jpg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4528" y="1316388"/>
            <a:ext cx="1971840" cy="1035217"/>
          </a:xfrm>
          <a:prstGeom prst="rect">
            <a:avLst/>
          </a:prstGeom>
        </p:spPr>
      </p:pic>
      <p:pic>
        <p:nvPicPr>
          <p:cNvPr id="4" name="Bilde 3">
            <a:extLst>
              <a:ext uri="{FF2B5EF4-FFF2-40B4-BE49-F238E27FC236}">
                <a16:creationId xmlns:a16="http://schemas.microsoft.com/office/drawing/2014/main" id="{6155A8DF-264F-EE44-B1CE-899DAA066F7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69517" y="1080884"/>
            <a:ext cx="4040645" cy="1620823"/>
          </a:xfrm>
          <a:prstGeom prst="rect">
            <a:avLst/>
          </a:prstGeom>
        </p:spPr>
      </p:pic>
      <p:pic>
        <p:nvPicPr>
          <p:cNvPr id="2" name="Bilde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3093" y="1329944"/>
            <a:ext cx="2882260" cy="1080848"/>
          </a:xfrm>
          <a:prstGeom prst="rect">
            <a:avLst/>
          </a:prstGeom>
        </p:spPr>
      </p:pic>
      <p:pic>
        <p:nvPicPr>
          <p:cNvPr id="5" name="Bilde 4"/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036" y="2993570"/>
            <a:ext cx="1538523" cy="435431"/>
          </a:xfrm>
          <a:prstGeom prst="rect">
            <a:avLst/>
          </a:prstGeom>
        </p:spPr>
      </p:pic>
      <p:pic>
        <p:nvPicPr>
          <p:cNvPr id="6" name="Bilde 5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7959" y="4131010"/>
            <a:ext cx="3326271" cy="612125"/>
          </a:xfrm>
          <a:prstGeom prst="rect">
            <a:avLst/>
          </a:prstGeom>
        </p:spPr>
      </p:pic>
      <p:pic>
        <p:nvPicPr>
          <p:cNvPr id="7" name="Bilde 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05353" y="3633324"/>
            <a:ext cx="1201524" cy="1215629"/>
          </a:xfrm>
          <a:prstGeom prst="rect">
            <a:avLst/>
          </a:prstGeom>
        </p:spPr>
      </p:pic>
      <p:pic>
        <p:nvPicPr>
          <p:cNvPr id="11" name="Bilde 10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3936" y="6021035"/>
            <a:ext cx="2333169" cy="533296"/>
          </a:xfrm>
          <a:prstGeom prst="rect">
            <a:avLst/>
          </a:prstGeom>
        </p:spPr>
      </p:pic>
      <p:pic>
        <p:nvPicPr>
          <p:cNvPr id="9" name="Bilde 8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653361" y="3632866"/>
            <a:ext cx="3538044" cy="1191376"/>
          </a:xfrm>
          <a:prstGeom prst="rect">
            <a:avLst/>
          </a:prstGeom>
        </p:spPr>
      </p:pic>
      <p:pic>
        <p:nvPicPr>
          <p:cNvPr id="10" name="Bilde 9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6388" y="1430209"/>
            <a:ext cx="1218895" cy="1257645"/>
          </a:xfrm>
          <a:prstGeom prst="rect">
            <a:avLst/>
          </a:prstGeom>
        </p:spPr>
      </p:pic>
      <p:pic>
        <p:nvPicPr>
          <p:cNvPr id="13" name="Bilde 12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3635" y="2556249"/>
            <a:ext cx="1447659" cy="1447659"/>
          </a:xfrm>
          <a:prstGeom prst="rect">
            <a:avLst/>
          </a:prstGeom>
        </p:spPr>
      </p:pic>
      <p:pic>
        <p:nvPicPr>
          <p:cNvPr id="14" name="Bilde 13"/>
          <p:cNvPicPr>
            <a:picLocks noChangeAspect="1"/>
          </p:cNvPicPr>
          <p:nvPr/>
        </p:nvPicPr>
        <p:blipFill>
          <a:blip r:embed="rId1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927" y="5103023"/>
            <a:ext cx="1467916" cy="595687"/>
          </a:xfrm>
          <a:prstGeom prst="rect">
            <a:avLst/>
          </a:prstGeom>
        </p:spPr>
      </p:pic>
      <p:pic>
        <p:nvPicPr>
          <p:cNvPr id="15" name="Bilde 14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0023" y="4583758"/>
            <a:ext cx="1923284" cy="1923284"/>
          </a:xfrm>
          <a:prstGeom prst="rect">
            <a:avLst/>
          </a:prstGeom>
        </p:spPr>
      </p:pic>
      <p:pic>
        <p:nvPicPr>
          <p:cNvPr id="16" name="Bilde 15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1956" y="5157023"/>
            <a:ext cx="2936328" cy="531038"/>
          </a:xfrm>
          <a:prstGeom prst="rect">
            <a:avLst/>
          </a:prstGeom>
        </p:spPr>
      </p:pic>
      <p:pic>
        <p:nvPicPr>
          <p:cNvPr id="18" name="Bilde 17"/>
          <p:cNvPicPr>
            <a:picLocks noChangeAspect="1"/>
          </p:cNvPicPr>
          <p:nvPr/>
        </p:nvPicPr>
        <p:blipFill>
          <a:blip r:embed="rId1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3040" y="3079208"/>
            <a:ext cx="1684623" cy="699586"/>
          </a:xfrm>
          <a:prstGeom prst="rect">
            <a:avLst/>
          </a:prstGeom>
        </p:spPr>
      </p:pic>
      <p:pic>
        <p:nvPicPr>
          <p:cNvPr id="21" name="Bilde 20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1974" y="5697031"/>
            <a:ext cx="2666740" cy="977805"/>
          </a:xfrm>
          <a:prstGeom prst="rect">
            <a:avLst/>
          </a:prstGeom>
        </p:spPr>
      </p:pic>
      <p:pic>
        <p:nvPicPr>
          <p:cNvPr id="17" name="Bilde 16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2014" y="3969007"/>
            <a:ext cx="2133124" cy="981237"/>
          </a:xfrm>
          <a:prstGeom prst="rect">
            <a:avLst/>
          </a:prstGeom>
        </p:spPr>
      </p:pic>
      <p:pic>
        <p:nvPicPr>
          <p:cNvPr id="19" name="Bilde 18"/>
          <p:cNvPicPr>
            <a:picLocks noChangeAspect="1"/>
          </p:cNvPicPr>
          <p:nvPr/>
        </p:nvPicPr>
        <p:blipFill>
          <a:blip r:embed="rId2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7999" y="4509015"/>
            <a:ext cx="1350018" cy="1350018"/>
          </a:xfrm>
          <a:prstGeom prst="rect">
            <a:avLst/>
          </a:prstGeom>
        </p:spPr>
      </p:pic>
      <p:pic>
        <p:nvPicPr>
          <p:cNvPr id="23" name="Bilde 22"/>
          <p:cNvPicPr>
            <a:picLocks noChangeAspect="1"/>
          </p:cNvPicPr>
          <p:nvPr/>
        </p:nvPicPr>
        <p:blipFill>
          <a:blip r:embed="rId2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2018" y="5967035"/>
            <a:ext cx="2841343" cy="658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9213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lassholder for bilde 8"/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01" b="7801"/>
          <a:stretch>
            <a:fillRect/>
          </a:stretch>
        </p:blipFill>
        <p:spPr/>
      </p:pic>
      <p:sp>
        <p:nvSpPr>
          <p:cNvPr id="7" name="Tittel 6"/>
          <p:cNvSpPr>
            <a:spLocks noGrp="1"/>
          </p:cNvSpPr>
          <p:nvPr>
            <p:ph type="title"/>
          </p:nvPr>
        </p:nvSpPr>
        <p:spPr>
          <a:xfrm>
            <a:off x="7284016" y="728964"/>
            <a:ext cx="4589552" cy="899912"/>
          </a:xfrm>
        </p:spPr>
        <p:txBody>
          <a:bodyPr/>
          <a:lstStyle/>
          <a:p>
            <a:r>
              <a:rPr lang="nb-NO" sz="3600" dirty="0"/>
              <a:t>2019: Main </a:t>
            </a:r>
            <a:r>
              <a:rPr lang="nb-NO" sz="3600" dirty="0" err="1"/>
              <a:t>topics</a:t>
            </a:r>
            <a:endParaRPr lang="nb-NO" sz="3600" dirty="0"/>
          </a:p>
        </p:txBody>
      </p:sp>
      <p:sp>
        <p:nvSpPr>
          <p:cNvPr id="22" name="Plassholder for innhold 21"/>
          <p:cNvSpPr>
            <a:spLocks noGrp="1"/>
          </p:cNvSpPr>
          <p:nvPr>
            <p:ph idx="13"/>
          </p:nvPr>
        </p:nvSpPr>
        <p:spPr>
          <a:xfrm>
            <a:off x="7284016" y="2132862"/>
            <a:ext cx="4589552" cy="4319578"/>
          </a:xfrm>
        </p:spPr>
        <p:txBody>
          <a:bodyPr/>
          <a:lstStyle/>
          <a:p>
            <a:r>
              <a:rPr lang="en-GB" sz="1800" dirty="0"/>
              <a:t>Smart City Ecosystems</a:t>
            </a:r>
          </a:p>
          <a:p>
            <a:r>
              <a:rPr lang="en-GB" sz="1800" dirty="0"/>
              <a:t>Mobility and Transport</a:t>
            </a:r>
          </a:p>
          <a:p>
            <a:r>
              <a:rPr lang="en-GB" sz="1800" dirty="0"/>
              <a:t>Active Citizenship and Democracy</a:t>
            </a:r>
          </a:p>
          <a:p>
            <a:r>
              <a:rPr lang="en-GB" sz="1800" dirty="0"/>
              <a:t>Urban Energy</a:t>
            </a:r>
          </a:p>
          <a:p>
            <a:r>
              <a:rPr lang="en-GB" sz="1800" dirty="0"/>
              <a:t>Smart Places and Spaces</a:t>
            </a:r>
          </a:p>
          <a:p>
            <a:r>
              <a:rPr lang="en-GB" sz="1800" dirty="0"/>
              <a:t>Emerging technologies and platforms</a:t>
            </a:r>
          </a:p>
          <a:p>
            <a:r>
              <a:rPr lang="en-GB" sz="1800" dirty="0" err="1"/>
              <a:t>Edtech</a:t>
            </a:r>
            <a:r>
              <a:rPr lang="en-GB" sz="1800" dirty="0"/>
              <a:t> and learning communities</a:t>
            </a:r>
          </a:p>
          <a:p>
            <a:r>
              <a:rPr lang="en-GB" sz="1800" dirty="0" err="1"/>
              <a:t>Healthtech</a:t>
            </a:r>
            <a:endParaRPr lang="en-GB" sz="1800" dirty="0"/>
          </a:p>
          <a:p>
            <a:r>
              <a:rPr lang="en-GB" sz="1800" dirty="0"/>
              <a:t>Governance and Resilience</a:t>
            </a:r>
          </a:p>
        </p:txBody>
      </p:sp>
      <p:pic>
        <p:nvPicPr>
          <p:cNvPr id="15" name="Plassholder for bilde 14"/>
          <p:cNvPicPr>
            <a:picLocks noGrp="1" noChangeAspect="1"/>
          </p:cNvPicPr>
          <p:nvPr>
            <p:ph type="pic" sz="quarter" idx="23"/>
          </p:nvPr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78" r="16678"/>
          <a:stretch>
            <a:fillRect/>
          </a:stretch>
        </p:blipFill>
        <p:spPr/>
      </p:pic>
      <p:pic>
        <p:nvPicPr>
          <p:cNvPr id="11" name="Plassholder for bilde 10"/>
          <p:cNvPicPr>
            <a:picLocks noGrp="1" noChangeAspect="1"/>
          </p:cNvPicPr>
          <p:nvPr>
            <p:ph type="pic" sz="quarter" idx="24"/>
          </p:nvPr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7" r="817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556927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COPYRIGHT" val="1"/>
  <p:tag name="EE4P_MASTERWIZARD" val="Siemens_Confidentiality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heme/theme1.xml><?xml version="1.0" encoding="utf-8"?>
<a:theme xmlns:a="http://schemas.openxmlformats.org/drawingml/2006/main" name="blank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>
            <a:lumMod val="20000"/>
            <a:lumOff val="80000"/>
          </a:schemeClr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7200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2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Nordic Edge">
  <a:themeElements>
    <a:clrScheme name="Lyse2014">
      <a:dk1>
        <a:sysClr val="windowText" lastClr="000000"/>
      </a:dk1>
      <a:lt1>
        <a:sysClr val="window" lastClr="FFFFFF"/>
      </a:lt1>
      <a:dk2>
        <a:srgbClr val="B1B4B6"/>
      </a:dk2>
      <a:lt2>
        <a:srgbClr val="F0EAE9"/>
      </a:lt2>
      <a:accent1>
        <a:srgbClr val="5DAA24"/>
      </a:accent1>
      <a:accent2>
        <a:srgbClr val="063724"/>
      </a:accent2>
      <a:accent3>
        <a:srgbClr val="14A0D3"/>
      </a:accent3>
      <a:accent4>
        <a:srgbClr val="E8670B"/>
      </a:accent4>
      <a:accent5>
        <a:srgbClr val="BD0014"/>
      </a:accent5>
      <a:accent6>
        <a:srgbClr val="BBCE24"/>
      </a:accent6>
      <a:hlink>
        <a:srgbClr val="14A0D3"/>
      </a:hlink>
      <a:folHlink>
        <a:srgbClr val="AB1575"/>
      </a:folHlink>
    </a:clrScheme>
    <a:fontScheme name="Office klassisk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urkis">
  <a:themeElements>
    <a:clrScheme name="Office-tema">
      <a:dk1>
        <a:srgbClr val="404942"/>
      </a:dk1>
      <a:lt1>
        <a:sysClr val="window" lastClr="FFFFFF"/>
      </a:lt1>
      <a:dk2>
        <a:srgbClr val="1EB6BF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mal_16_9.potx" id="{4033087C-B4A7-494D-A240-7AE17CF22E88}" vid="{ED2C993E-E5CE-48DE-AB43-D9100E241441}"/>
    </a:ext>
  </a:extLst>
</a:theme>
</file>

<file path=ppt/theme/theme4.xml><?xml version="1.0" encoding="utf-8"?>
<a:theme xmlns:a="http://schemas.openxmlformats.org/drawingml/2006/main" name="4_Turkis">
  <a:themeElements>
    <a:clrScheme name="Office-tema">
      <a:dk1>
        <a:srgbClr val="404942"/>
      </a:dk1>
      <a:lt1>
        <a:sysClr val="window" lastClr="FFFFFF"/>
      </a:lt1>
      <a:dk2>
        <a:srgbClr val="1EB6BF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mal_16_9.potx" id="{4033087C-B4A7-494D-A240-7AE17CF22E88}" vid="{ED2C993E-E5CE-48DE-AB43-D9100E241441}"/>
    </a:ext>
  </a:extLst>
</a:theme>
</file>

<file path=ppt/theme/theme5.xml><?xml version="1.0" encoding="utf-8"?>
<a:theme xmlns:a="http://schemas.openxmlformats.org/drawingml/2006/main" name="Fortum">
  <a:themeElements>
    <a:clrScheme name="fortum PPT 2017">
      <a:dk1>
        <a:srgbClr val="000000"/>
      </a:dk1>
      <a:lt1>
        <a:sysClr val="window" lastClr="FFFFFF"/>
      </a:lt1>
      <a:dk2>
        <a:srgbClr val="9BBDB6"/>
      </a:dk2>
      <a:lt2>
        <a:srgbClr val="B9B4AA"/>
      </a:lt2>
      <a:accent1>
        <a:srgbClr val="5AC37D"/>
      </a:accent1>
      <a:accent2>
        <a:srgbClr val="377A6C"/>
      </a:accent2>
      <a:accent3>
        <a:srgbClr val="78A0D4"/>
      </a:accent3>
      <a:accent4>
        <a:srgbClr val="003C79"/>
      </a:accent4>
      <a:accent5>
        <a:srgbClr val="F5E100"/>
      </a:accent5>
      <a:accent6>
        <a:srgbClr val="EB6437"/>
      </a:accent6>
      <a:hlink>
        <a:srgbClr val="5AC37D"/>
      </a:hlink>
      <a:folHlink>
        <a:srgbClr val="78A0D4"/>
      </a:folHlink>
    </a:clrScheme>
    <a:fontScheme name="fortu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Fortum_landscape_16_9.potx" id="{DA43B3B9-377C-4A40-AD2E-9EB3F30EEC7E}" vid="{B58D7CF0-B6EF-4076-925E-AACB00BA25A3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4ppTags>
  <Name>Free Content</Name>
  <PpLayout>11</PpLayout>
  <Index>9</Index>
</p4ppTags>
</file>

<file path=customXml/item2.xml><?xml version="1.0" encoding="utf-8"?>
<p4ppTags>
  <Name>One object (small)</Name>
  <PpLayout>16</PpLayout>
  <Index>11</Index>
</p4ppTags>
</file>

<file path=customXml/item3.xml><?xml version="1.0" encoding="utf-8"?>
<p4ppTags>
  <Name>One object (small)</Name>
  <PpLayout>16</PpLayout>
  <Index>11</Index>
</p4ppTags>
</file>

<file path=customXml/itemProps1.xml><?xml version="1.0" encoding="utf-8"?>
<ds:datastoreItem xmlns:ds="http://schemas.openxmlformats.org/officeDocument/2006/customXml" ds:itemID="{47B154D3-D547-46A2-BA52-E48480D8E8AA}">
  <ds:schemaRefs/>
</ds:datastoreItem>
</file>

<file path=customXml/itemProps2.xml><?xml version="1.0" encoding="utf-8"?>
<ds:datastoreItem xmlns:ds="http://schemas.openxmlformats.org/officeDocument/2006/customXml" ds:itemID="{7ADB9D5A-E498-46E7-A069-E29E3F85B867}">
  <ds:schemaRefs/>
</ds:datastoreItem>
</file>

<file path=customXml/itemProps3.xml><?xml version="1.0" encoding="utf-8"?>
<ds:datastoreItem xmlns:ds="http://schemas.openxmlformats.org/officeDocument/2006/customXml" ds:itemID="{1618AA06-B22E-4D19-9680-0D7830426729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767</TotalTime>
  <Words>485</Words>
  <Application>Microsoft Macintosh PowerPoint</Application>
  <PresentationFormat>Widescreen</PresentationFormat>
  <Paragraphs>128</Paragraphs>
  <Slides>19</Slides>
  <Notes>12</Notes>
  <HiddenSlides>1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30" baseType="lpstr">
      <vt:lpstr>Arial</vt:lpstr>
      <vt:lpstr>Avenir Next Condensed</vt:lpstr>
      <vt:lpstr>Calibri</vt:lpstr>
      <vt:lpstr>Helvetica</vt:lpstr>
      <vt:lpstr>Wingdings</vt:lpstr>
      <vt:lpstr>blank</vt:lpstr>
      <vt:lpstr>Nordic Edge</vt:lpstr>
      <vt:lpstr>Turkis</vt:lpstr>
      <vt:lpstr>4_Turkis</vt:lpstr>
      <vt:lpstr>Fortum</vt:lpstr>
      <vt:lpstr>think-cell Slide</vt:lpstr>
      <vt:lpstr>PowerPoint Presentation</vt:lpstr>
      <vt:lpstr>PowerPoint Presentation</vt:lpstr>
      <vt:lpstr>WHY THE NORDICS?</vt:lpstr>
      <vt:lpstr>PowerPoint Presentation</vt:lpstr>
      <vt:lpstr>Nordic Edge –  the Smart City matchmaker and accelerator</vt:lpstr>
      <vt:lpstr>PowerPoint Presentation</vt:lpstr>
      <vt:lpstr>Some highlights from 2018</vt:lpstr>
      <vt:lpstr>Nordic Edge Expos medarrangører 2018</vt:lpstr>
      <vt:lpstr>2019: Main topics</vt:lpstr>
      <vt:lpstr>PowerPoint Presentation</vt:lpstr>
      <vt:lpstr>PowerPoint Presentation</vt:lpstr>
      <vt:lpstr>PowerPoint Presentation</vt:lpstr>
      <vt:lpstr>PowerPoint Presentation</vt:lpstr>
      <vt:lpstr>Smart City Innovation Cluster</vt:lpstr>
      <vt:lpstr>De fremste barrierene i dagens smartbyutvikling</vt:lpstr>
      <vt:lpstr>De fremste barrierene i dagens smartbyutvikling</vt:lpstr>
      <vt:lpstr>Smart City Themes: Our 4 main focus areas</vt:lpstr>
      <vt:lpstr>Building a robust Smart City Ecosystem 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ecilie Axelsen Baer</dc:creator>
  <cp:lastModifiedBy>LH Nærø</cp:lastModifiedBy>
  <cp:revision>14</cp:revision>
  <dcterms:created xsi:type="dcterms:W3CDTF">2019-01-08T08:05:36Z</dcterms:created>
  <dcterms:modified xsi:type="dcterms:W3CDTF">2019-05-29T07:09:41Z</dcterms:modified>
</cp:coreProperties>
</file>